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52" r:id="rId5"/>
  </p:sldMasterIdLst>
  <p:notesMasterIdLst>
    <p:notesMasterId r:id="rId19"/>
  </p:notesMasterIdLst>
  <p:handoutMasterIdLst>
    <p:handoutMasterId r:id="rId20"/>
  </p:handoutMasterIdLst>
  <p:sldIdLst>
    <p:sldId id="323" r:id="rId6"/>
    <p:sldId id="314" r:id="rId7"/>
    <p:sldId id="327" r:id="rId8"/>
    <p:sldId id="328" r:id="rId9"/>
    <p:sldId id="316" r:id="rId10"/>
    <p:sldId id="331" r:id="rId11"/>
    <p:sldId id="317" r:id="rId12"/>
    <p:sldId id="318" r:id="rId13"/>
    <p:sldId id="329" r:id="rId14"/>
    <p:sldId id="319" r:id="rId15"/>
    <p:sldId id="320" r:id="rId16"/>
    <p:sldId id="321" r:id="rId17"/>
    <p:sldId id="330" r:id="rId18"/>
  </p:sldIdLst>
  <p:sldSz cx="9906000" cy="6858000" type="A4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6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10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81B4"/>
    <a:srgbClr val="3885BA"/>
    <a:srgbClr val="3278A8"/>
    <a:srgbClr val="457DA2"/>
    <a:srgbClr val="E93B47"/>
    <a:srgbClr val="FFD05B"/>
    <a:srgbClr val="6DA3C0"/>
    <a:srgbClr val="D1E2EB"/>
    <a:srgbClr val="FFFFFF"/>
    <a:srgbClr val="F759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599" autoAdjust="0"/>
    <p:restoredTop sz="96213" autoAdjust="0"/>
  </p:normalViewPr>
  <p:slideViewPr>
    <p:cSldViewPr snapToGrid="0" showGuides="1">
      <p:cViewPr varScale="1">
        <p:scale>
          <a:sx n="76" d="100"/>
          <a:sy n="76" d="100"/>
        </p:scale>
        <p:origin x="-108" y="-864"/>
      </p:cViewPr>
      <p:guideLst>
        <p:guide orient="horz" pos="2160"/>
        <p:guide pos="31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168" y="-84"/>
      </p:cViewPr>
      <p:guideLst>
        <p:guide orient="horz" pos="3127"/>
        <p:guide pos="213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1111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"/>
            <c:bubble3D val="0"/>
          </c:dPt>
          <c:cat>
            <c:strRef>
              <c:f>Лист1!$A$2:$A$3</c:f>
              <c:strCache>
                <c:ptCount val="2"/>
                <c:pt idx="0">
                  <c:v>Бюджетные средства</c:v>
                </c:pt>
                <c:pt idx="1">
                  <c:v>Внебюджетные средства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4</c:v>
                </c:pt>
                <c:pt idx="1">
                  <c:v>3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en-US"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0C4BAA-E369-44AD-87C0-64F34E7C73DA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B2E880-491A-4E3B-8D0D-90D32A07181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65647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3BA728-D73C-E140-8099-AC13A4281303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D2A862-1F40-B349-91D5-3B9B128B79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59399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65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D2A862-1F40-B349-91D5-3B9B128B79E4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2650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735" indent="0" algn="ctr">
              <a:buNone/>
              <a:defRPr sz="1800"/>
            </a:lvl2pPr>
            <a:lvl3pPr marL="840105" indent="0" algn="ctr">
              <a:buNone/>
              <a:defRPr sz="1700"/>
            </a:lvl3pPr>
            <a:lvl4pPr marL="1259840" indent="0" algn="ctr">
              <a:buNone/>
              <a:defRPr sz="1500"/>
            </a:lvl4pPr>
            <a:lvl5pPr marL="1679575" indent="0" algn="ctr">
              <a:buNone/>
              <a:defRPr sz="1500"/>
            </a:lvl5pPr>
            <a:lvl6pPr marL="2099310" indent="0" algn="ctr">
              <a:buNone/>
              <a:defRPr sz="1500"/>
            </a:lvl6pPr>
            <a:lvl7pPr marL="2519680" indent="0" algn="ctr">
              <a:buNone/>
              <a:defRPr sz="1500"/>
            </a:lvl7pPr>
            <a:lvl8pPr marL="2939415" indent="0" algn="ctr">
              <a:buNone/>
              <a:defRPr sz="1500"/>
            </a:lvl8pPr>
            <a:lvl9pPr marL="3359150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3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>
            <a:fillRect/>
          </a:stretch>
        </p:blipFill>
        <p:spPr>
          <a:xfrm>
            <a:off x="680633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736728"/>
            <a:ext cx="8721437" cy="4351338"/>
          </a:xfrm>
        </p:spPr>
        <p:txBody>
          <a:bodyPr/>
          <a:lstStyle>
            <a:lvl1pPr marL="330835" indent="-330835">
              <a:lnSpc>
                <a:spcPct val="100000"/>
              </a:lnSpc>
              <a:spcBef>
                <a:spcPts val="0"/>
              </a:spcBef>
              <a:spcAft>
                <a:spcPts val="1110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panose="020F0502020204030204" charset="0"/>
                <a:cs typeface="Calibri" panose="020F0502020204030204" charset="0"/>
              </a:defRPr>
            </a:lvl1pPr>
            <a:lvl2pPr marL="714375" indent="-274320">
              <a:lnSpc>
                <a:spcPct val="100000"/>
              </a:lnSpc>
              <a:spcBef>
                <a:spcPts val="0"/>
              </a:spcBef>
              <a:spcAft>
                <a:spcPts val="925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panose="020F0502020204030204" charset="0"/>
                <a:cs typeface="Calibri" panose="020F0502020204030204" charset="0"/>
              </a:defRPr>
            </a:lvl2pPr>
            <a:lvl3pPr marL="1101090" indent="-221615">
              <a:spcBef>
                <a:spcPts val="0"/>
              </a:spcBef>
              <a:spcAft>
                <a:spcPts val="830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panose="020F0502020204030204" charset="0"/>
                <a:cs typeface="Calibri" panose="020F0502020204030204" charset="0"/>
              </a:defRPr>
            </a:lvl3pPr>
            <a:lvl4pPr marL="1469390" indent="-210185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panose="020F0502020204030204" charset="0"/>
                <a:cs typeface="Calibri" panose="020F0502020204030204" charset="0"/>
              </a:defRPr>
            </a:lvl4pPr>
            <a:lvl5pPr>
              <a:defRPr sz="1300" b="0" i="0">
                <a:latin typeface="+mj-lt"/>
                <a:ea typeface="Calibri" panose="020F0502020204030204" charset="0"/>
                <a:cs typeface="Calibri" panose="020F050202020403020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17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>
            <a:fillRect/>
          </a:stretch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3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2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156156"/>
            <a:ext cx="8721437" cy="5041446"/>
          </a:xfrm>
        </p:spPr>
        <p:txBody>
          <a:bodyPr/>
          <a:lstStyle>
            <a:lvl1pPr marL="330835" indent="-330835">
              <a:lnSpc>
                <a:spcPct val="100000"/>
              </a:lnSpc>
              <a:spcBef>
                <a:spcPts val="0"/>
              </a:spcBef>
              <a:spcAft>
                <a:spcPts val="1110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panose="020F0502020204030204" charset="0"/>
                <a:cs typeface="Calibri" panose="020F0502020204030204" charset="0"/>
              </a:defRPr>
            </a:lvl1pPr>
            <a:lvl2pPr marL="714375" indent="-274320">
              <a:lnSpc>
                <a:spcPct val="100000"/>
              </a:lnSpc>
              <a:spcBef>
                <a:spcPts val="0"/>
              </a:spcBef>
              <a:spcAft>
                <a:spcPts val="925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panose="020F0502020204030204" charset="0"/>
                <a:cs typeface="Calibri" panose="020F0502020204030204" charset="0"/>
              </a:defRPr>
            </a:lvl2pPr>
            <a:lvl3pPr marL="1101090" indent="-221615">
              <a:spcBef>
                <a:spcPts val="0"/>
              </a:spcBef>
              <a:spcAft>
                <a:spcPts val="830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panose="020F0502020204030204" charset="0"/>
                <a:cs typeface="Calibri" panose="020F0502020204030204" charset="0"/>
              </a:defRPr>
            </a:lvl3pPr>
            <a:lvl4pPr marL="1469390" indent="-210185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panose="020F0502020204030204" charset="0"/>
                <a:cs typeface="Calibri" panose="020F0502020204030204" charset="0"/>
              </a:defRPr>
            </a:lvl4pPr>
            <a:lvl5pPr marL="1889760" indent="-210185">
              <a:buFont typeface="Arial" panose="020B0604020202020204" pitchFamily="34" charset="0"/>
              <a:buChar char="•"/>
              <a:defRPr sz="1300" b="0" i="0">
                <a:latin typeface="+mj-lt"/>
                <a:ea typeface="Calibri" panose="020F0502020204030204" charset="0"/>
                <a:cs typeface="Calibri" panose="020F050202020403020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17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>
            <a:fillRect/>
          </a:stretch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735" indent="0" algn="ctr">
              <a:buNone/>
              <a:defRPr sz="1800"/>
            </a:lvl2pPr>
            <a:lvl3pPr marL="840105" indent="0" algn="ctr">
              <a:buNone/>
              <a:defRPr sz="1700"/>
            </a:lvl3pPr>
            <a:lvl4pPr marL="1259840" indent="0" algn="ctr">
              <a:buNone/>
              <a:defRPr sz="1500"/>
            </a:lvl4pPr>
            <a:lvl5pPr marL="1679575" indent="0" algn="ctr">
              <a:buNone/>
              <a:defRPr sz="1500"/>
            </a:lvl5pPr>
            <a:lvl6pPr marL="2099945" indent="0" algn="ctr">
              <a:buNone/>
              <a:defRPr sz="1500"/>
            </a:lvl6pPr>
            <a:lvl7pPr marL="2519680" indent="0" algn="ctr">
              <a:buNone/>
              <a:defRPr sz="1500"/>
            </a:lvl7pPr>
            <a:lvl8pPr marL="2939415" indent="0" algn="ctr">
              <a:buNone/>
              <a:defRPr sz="1500"/>
            </a:lvl8pPr>
            <a:lvl9pPr marL="3359785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1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>
            <a:fillRect/>
          </a:stretch>
        </p:blipFill>
        <p:spPr>
          <a:xfrm>
            <a:off x="680631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736727"/>
            <a:ext cx="8721437" cy="4351338"/>
          </a:xfrm>
        </p:spPr>
        <p:txBody>
          <a:bodyPr/>
          <a:lstStyle>
            <a:lvl1pPr marL="330835" indent="-330835">
              <a:lnSpc>
                <a:spcPct val="100000"/>
              </a:lnSpc>
              <a:spcBef>
                <a:spcPts val="0"/>
              </a:spcBef>
              <a:spcAft>
                <a:spcPts val="1110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panose="020F0502020204030204" charset="0"/>
                <a:cs typeface="Calibri" panose="020F0502020204030204" charset="0"/>
              </a:defRPr>
            </a:lvl1pPr>
            <a:lvl2pPr marL="714375" indent="-274320">
              <a:lnSpc>
                <a:spcPct val="100000"/>
              </a:lnSpc>
              <a:spcBef>
                <a:spcPts val="0"/>
              </a:spcBef>
              <a:spcAft>
                <a:spcPts val="925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panose="020F0502020204030204" charset="0"/>
                <a:cs typeface="Calibri" panose="020F0502020204030204" charset="0"/>
              </a:defRPr>
            </a:lvl2pPr>
            <a:lvl3pPr marL="1101090" indent="-221615">
              <a:spcBef>
                <a:spcPts val="0"/>
              </a:spcBef>
              <a:spcAft>
                <a:spcPts val="830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panose="020F0502020204030204" charset="0"/>
                <a:cs typeface="Calibri" panose="020F0502020204030204" charset="0"/>
              </a:defRPr>
            </a:lvl3pPr>
            <a:lvl4pPr marL="1470025" indent="-210185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panose="020F0502020204030204" charset="0"/>
                <a:cs typeface="Calibri" panose="020F0502020204030204" charset="0"/>
              </a:defRPr>
            </a:lvl4pPr>
            <a:lvl5pPr>
              <a:defRPr sz="1300" b="0" i="0">
                <a:latin typeface="+mj-lt"/>
                <a:ea typeface="Calibri" panose="020F0502020204030204" charset="0"/>
                <a:cs typeface="Calibri" panose="020F050202020403020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17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>
            <a:fillRect/>
          </a:stretch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1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2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156156"/>
            <a:ext cx="8721437" cy="5041446"/>
          </a:xfrm>
        </p:spPr>
        <p:txBody>
          <a:bodyPr/>
          <a:lstStyle>
            <a:lvl1pPr marL="330835" indent="-330835">
              <a:lnSpc>
                <a:spcPct val="100000"/>
              </a:lnSpc>
              <a:spcBef>
                <a:spcPts val="0"/>
              </a:spcBef>
              <a:spcAft>
                <a:spcPts val="1110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panose="020F0502020204030204" charset="0"/>
                <a:cs typeface="Calibri" panose="020F0502020204030204" charset="0"/>
              </a:defRPr>
            </a:lvl1pPr>
            <a:lvl2pPr marL="714375" indent="-274320">
              <a:lnSpc>
                <a:spcPct val="100000"/>
              </a:lnSpc>
              <a:spcBef>
                <a:spcPts val="0"/>
              </a:spcBef>
              <a:spcAft>
                <a:spcPts val="925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panose="020F0502020204030204" charset="0"/>
                <a:cs typeface="Calibri" panose="020F0502020204030204" charset="0"/>
              </a:defRPr>
            </a:lvl2pPr>
            <a:lvl3pPr marL="1101090" indent="-221615">
              <a:spcBef>
                <a:spcPts val="0"/>
              </a:spcBef>
              <a:spcAft>
                <a:spcPts val="830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panose="020F0502020204030204" charset="0"/>
                <a:cs typeface="Calibri" panose="020F0502020204030204" charset="0"/>
              </a:defRPr>
            </a:lvl3pPr>
            <a:lvl4pPr marL="1470025" indent="-210185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panose="020F0502020204030204" charset="0"/>
                <a:cs typeface="Calibri" panose="020F0502020204030204" charset="0"/>
              </a:defRPr>
            </a:lvl4pPr>
            <a:lvl5pPr marL="1889760" indent="-210185">
              <a:buFont typeface="Arial" panose="020B0604020202020204" pitchFamily="34" charset="0"/>
              <a:buChar char="•"/>
              <a:defRPr sz="1300" b="0" i="0">
                <a:latin typeface="+mj-lt"/>
                <a:ea typeface="Calibri" panose="020F0502020204030204" charset="0"/>
                <a:cs typeface="Calibri" panose="020F050202020403020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17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>
            <a:fillRect/>
          </a:stretch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8"/>
            <a:ext cx="8543925" cy="1325563"/>
          </a:xfrm>
          <a:prstGeom prst="rect">
            <a:avLst/>
          </a:prstGeom>
        </p:spPr>
        <p:txBody>
          <a:bodyPr vert="horz" lIns="83984" tIns="41992" rIns="83984" bIns="41992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8"/>
            <a:ext cx="8543925" cy="4351338"/>
          </a:xfrm>
          <a:prstGeom prst="rect">
            <a:avLst/>
          </a:prstGeom>
        </p:spPr>
        <p:txBody>
          <a:bodyPr vert="horz" lIns="83984" tIns="41992" rIns="83984" bIns="4199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17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5" y="6356351"/>
            <a:ext cx="3343275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ru-RU" smtClean="0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40105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0185" indent="-210185" algn="l" defTabSz="840105" rtl="0" eaLnBrk="1" latinLnBrk="0" hangingPunct="1">
        <a:lnSpc>
          <a:spcPct val="90000"/>
        </a:lnSpc>
        <a:spcBef>
          <a:spcPts val="92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92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5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39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76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49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23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60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33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73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84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57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31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68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41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15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83988" tIns="41994" rIns="83988" bIns="41994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6"/>
            <a:ext cx="8543925" cy="4351338"/>
          </a:xfrm>
          <a:prstGeom prst="rect">
            <a:avLst/>
          </a:prstGeom>
        </p:spPr>
        <p:txBody>
          <a:bodyPr vert="horz" lIns="83988" tIns="41994" rIns="83988" bIns="4199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t>17.11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ru-RU" smtClean="0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40105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0185" indent="-210185" algn="l" defTabSz="840105" rtl="0" eaLnBrk="1" latinLnBrk="0" hangingPunct="1">
        <a:lnSpc>
          <a:spcPct val="90000"/>
        </a:lnSpc>
        <a:spcBef>
          <a:spcPts val="92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92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5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7002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76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49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86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600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335" indent="-210185" algn="l" defTabSz="840105" rtl="0" eaLnBrk="1" latinLnBrk="0" hangingPunct="1">
        <a:lnSpc>
          <a:spcPct val="90000"/>
        </a:lnSpc>
        <a:spcBef>
          <a:spcPts val="46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73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84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57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94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680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41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785" algn="l" defTabSz="84010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/>
          <p:nvPr/>
        </p:nvSpPr>
        <p:spPr>
          <a:xfrm>
            <a:off x="179295" y="1789421"/>
            <a:ext cx="9072282" cy="2093957"/>
          </a:xfrm>
          <a:prstGeom prst="rect">
            <a:avLst/>
          </a:prstGeom>
        </p:spPr>
        <p:txBody>
          <a:bodyPr>
            <a:noAutofit/>
          </a:bodyPr>
          <a:lstStyle>
            <a:lvl1pPr algn="l" defTabSz="840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1" dirty="0"/>
              <a:t>Проектирование системы когнитивного радио на основе гибридного подхода</a:t>
            </a:r>
          </a:p>
          <a:p>
            <a:pPr marL="39370" marR="18415">
              <a:lnSpc>
                <a:spcPct val="112000"/>
              </a:lnSpc>
              <a:spcBef>
                <a:spcPts val="630"/>
              </a:spcBef>
            </a:pP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ru-RU" sz="1800" spc="-2" dirty="0">
              <a:solidFill>
                <a:schemeClr val="accent2">
                  <a:lumMod val="50000"/>
                </a:schemeClr>
              </a:solidFill>
              <a:latin typeface="Lato"/>
              <a:cs typeface="Lato"/>
            </a:endParaRPr>
          </a:p>
        </p:txBody>
      </p:sp>
      <p:sp>
        <p:nvSpPr>
          <p:cNvPr id="3" name="Нижний колонтитул 3"/>
          <p:cNvSpPr txBox="1"/>
          <p:nvPr/>
        </p:nvSpPr>
        <p:spPr>
          <a:xfrm>
            <a:off x="636487" y="6137714"/>
            <a:ext cx="278802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</a:rPr>
              <a:t>2023, РГРТУ</a:t>
            </a:r>
            <a:endParaRPr lang="ru-RU" sz="16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18565" y="5271808"/>
            <a:ext cx="92874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350" marR="2540" defTabSz="840105"/>
            <a:r>
              <a:rPr lang="ru-RU" sz="1600" b="1" spc="-5" dirty="0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Акселерационная программа: </a:t>
            </a:r>
          </a:p>
          <a:p>
            <a:pPr marL="6350" marR="2540" defTabSz="840105"/>
            <a:r>
              <a:rPr lang="ru-RU" sz="1600" b="1" spc="-5" dirty="0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Школа студенческого технологического предпринимательства «Мой </a:t>
            </a:r>
            <a:r>
              <a:rPr lang="ru-RU" sz="1600" b="1" spc="-5" dirty="0" err="1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стартап</a:t>
            </a:r>
            <a:r>
              <a:rPr lang="ru-RU" sz="1600" b="1" spc="-5" dirty="0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»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463" y="5845148"/>
            <a:ext cx="1661692" cy="950259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7628965" y="49163"/>
            <a:ext cx="2268068" cy="2891261"/>
            <a:chOff x="5699037" y="1158679"/>
            <a:chExt cx="4207116" cy="4540492"/>
          </a:xfrm>
        </p:grpSpPr>
        <p:grpSp>
          <p:nvGrpSpPr>
            <p:cNvPr id="13" name="object 10"/>
            <p:cNvGrpSpPr/>
            <p:nvPr/>
          </p:nvGrpSpPr>
          <p:grpSpPr>
            <a:xfrm>
              <a:off x="5699037" y="1158679"/>
              <a:ext cx="4207078" cy="3613531"/>
              <a:chOff x="11566123" y="1047087"/>
              <a:chExt cx="8538210" cy="7333615"/>
            </a:xfrm>
          </p:grpSpPr>
          <p:sp>
            <p:nvSpPr>
              <p:cNvPr id="15" name="object 11"/>
              <p:cNvSpPr/>
              <p:nvPr/>
            </p:nvSpPr>
            <p:spPr>
              <a:xfrm>
                <a:off x="12830283" y="1108417"/>
                <a:ext cx="7273925" cy="7272655"/>
              </a:xfrm>
              <a:custGeom>
                <a:avLst/>
                <a:gdLst/>
                <a:ahLst/>
                <a:cxnLst/>
                <a:rect l="l" t="t" r="r" b="b"/>
                <a:pathLst>
                  <a:path w="7273925" h="7272655">
                    <a:moveTo>
                      <a:pt x="7273809" y="0"/>
                    </a:moveTo>
                    <a:lnTo>
                      <a:pt x="5644561" y="0"/>
                    </a:lnTo>
                    <a:lnTo>
                      <a:pt x="5644561" y="2112050"/>
                    </a:lnTo>
                    <a:lnTo>
                      <a:pt x="2683876" y="2112050"/>
                    </a:lnTo>
                    <a:lnTo>
                      <a:pt x="2683876" y="3552080"/>
                    </a:lnTo>
                    <a:lnTo>
                      <a:pt x="12041" y="3552080"/>
                    </a:lnTo>
                    <a:lnTo>
                      <a:pt x="12041" y="5496115"/>
                    </a:lnTo>
                    <a:lnTo>
                      <a:pt x="0" y="5520125"/>
                    </a:lnTo>
                    <a:lnTo>
                      <a:pt x="2852373" y="5524093"/>
                    </a:lnTo>
                    <a:lnTo>
                      <a:pt x="2852373" y="7272155"/>
                    </a:lnTo>
                    <a:lnTo>
                      <a:pt x="7273809" y="7272155"/>
                    </a:lnTo>
                    <a:lnTo>
                      <a:pt x="7273809" y="0"/>
                    </a:lnTo>
                    <a:close/>
                  </a:path>
                </a:pathLst>
              </a:custGeom>
              <a:solidFill>
                <a:srgbClr val="457DA2"/>
              </a:solidFill>
            </p:spPr>
            <p:txBody>
              <a:bodyPr wrap="square" lIns="0" tIns="0" rIns="0" bIns="0" rtlCol="0"/>
              <a:lstStyle/>
              <a:p>
                <a:endParaRPr sz="885"/>
              </a:p>
            </p:txBody>
          </p:sp>
          <p:sp>
            <p:nvSpPr>
              <p:cNvPr id="16" name="object 12"/>
              <p:cNvSpPr/>
              <p:nvPr/>
            </p:nvSpPr>
            <p:spPr>
              <a:xfrm>
                <a:off x="11587065" y="1068029"/>
                <a:ext cx="6450330" cy="3185795"/>
              </a:xfrm>
              <a:custGeom>
                <a:avLst/>
                <a:gdLst/>
                <a:ahLst/>
                <a:cxnLst/>
                <a:rect l="l" t="t" r="r" b="b"/>
                <a:pathLst>
                  <a:path w="6450330" h="3185795">
                    <a:moveTo>
                      <a:pt x="6450002" y="1705937"/>
                    </a:moveTo>
                    <a:lnTo>
                      <a:pt x="3354002" y="1705937"/>
                    </a:lnTo>
                    <a:lnTo>
                      <a:pt x="3354002" y="3185295"/>
                    </a:lnTo>
                    <a:lnTo>
                      <a:pt x="0" y="3185295"/>
                    </a:lnTo>
                    <a:lnTo>
                      <a:pt x="0" y="990912"/>
                    </a:lnTo>
                    <a:lnTo>
                      <a:pt x="5136545" y="990912"/>
                    </a:lnTo>
                    <a:lnTo>
                      <a:pt x="5136545" y="0"/>
                    </a:lnTo>
                    <a:lnTo>
                      <a:pt x="6445112" y="0"/>
                    </a:lnTo>
                    <a:lnTo>
                      <a:pt x="6450002" y="1705937"/>
                    </a:lnTo>
                    <a:close/>
                  </a:path>
                </a:pathLst>
              </a:custGeom>
              <a:ln w="41883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885"/>
              </a:p>
            </p:txBody>
          </p:sp>
        </p:grpSp>
        <p:sp>
          <p:nvSpPr>
            <p:cNvPr id="14" name="object 13"/>
            <p:cNvSpPr/>
            <p:nvPr/>
          </p:nvSpPr>
          <p:spPr>
            <a:xfrm>
              <a:off x="8208116" y="4991108"/>
              <a:ext cx="1698037" cy="708063"/>
            </a:xfrm>
            <a:custGeom>
              <a:avLst/>
              <a:gdLst/>
              <a:ahLst/>
              <a:cxnLst/>
              <a:rect l="l" t="t" r="r" b="b"/>
              <a:pathLst>
                <a:path w="3446144" h="1437004">
                  <a:moveTo>
                    <a:pt x="3445832" y="0"/>
                  </a:moveTo>
                  <a:lnTo>
                    <a:pt x="0" y="0"/>
                  </a:lnTo>
                  <a:lnTo>
                    <a:pt x="0" y="1436511"/>
                  </a:lnTo>
                  <a:lnTo>
                    <a:pt x="3445832" y="1436511"/>
                  </a:lnTo>
                  <a:lnTo>
                    <a:pt x="3445832" y="0"/>
                  </a:lnTo>
                  <a:close/>
                </a:path>
              </a:pathLst>
            </a:custGeom>
            <a:solidFill>
              <a:srgbClr val="E93B47"/>
            </a:solidFill>
          </p:spPr>
          <p:txBody>
            <a:bodyPr wrap="square" lIns="0" tIns="0" rIns="0" bIns="0" rtlCol="0"/>
            <a:lstStyle/>
            <a:p>
              <a:endParaRPr sz="885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717176" y="5971994"/>
            <a:ext cx="4545105" cy="19160"/>
            <a:chOff x="717176" y="5971994"/>
            <a:chExt cx="4545105" cy="19160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Группа 21"/>
          <p:cNvGrpSpPr/>
          <p:nvPr/>
        </p:nvGrpSpPr>
        <p:grpSpPr>
          <a:xfrm>
            <a:off x="699123" y="4971517"/>
            <a:ext cx="4545105" cy="19160"/>
            <a:chOff x="717176" y="5971994"/>
            <a:chExt cx="4545105" cy="19160"/>
          </a:xfrm>
        </p:grpSpPr>
        <p:cxnSp>
          <p:nvCxnSpPr>
            <p:cNvPr id="23" name="Прямая соединительная линия 22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Прямоугольник 24"/>
          <p:cNvSpPr/>
          <p:nvPr/>
        </p:nvSpPr>
        <p:spPr>
          <a:xfrm>
            <a:off x="618565" y="4201052"/>
            <a:ext cx="7983568" cy="694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370" marR="18415">
              <a:lnSpc>
                <a:spcPct val="112000"/>
              </a:lnSpc>
              <a:spcBef>
                <a:spcPts val="630"/>
              </a:spcBef>
            </a:pPr>
            <a: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Рынок НТИ: </a:t>
            </a:r>
            <a:r>
              <a:rPr lang="ru-RU" spc="-2" dirty="0" smtClean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«</a:t>
            </a:r>
            <a:r>
              <a:rPr lang="ru-RU" spc="-2" dirty="0" err="1" smtClean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Технет</a:t>
            </a:r>
            <a:r>
              <a:rPr lang="ru-RU" spc="-2" dirty="0" smtClean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»</a:t>
            </a:r>
            <a: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/>
            </a:r>
            <a:b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</a:br>
            <a: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Сквозная технология: </a:t>
            </a:r>
            <a:r>
              <a:rPr lang="ru-RU" spc="-2" dirty="0" smtClean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«</a:t>
            </a:r>
            <a:r>
              <a:rPr lang="ru-RU" dirty="0"/>
              <a:t>Широкополосные антенны, технология </a:t>
            </a:r>
            <a:r>
              <a:rPr lang="en-US" dirty="0" smtClean="0"/>
              <a:t>OFDM</a:t>
            </a:r>
            <a:r>
              <a:rPr lang="ru-RU" spc="-2" dirty="0" smtClean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»</a:t>
            </a:r>
            <a:endParaRPr lang="ru-RU" spc="-2" dirty="0">
              <a:solidFill>
                <a:schemeClr val="accent2">
                  <a:lumMod val="50000"/>
                </a:schemeClr>
              </a:solidFill>
              <a:latin typeface="Lato"/>
              <a:cs typeface="Lato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95" y="29364"/>
            <a:ext cx="3576917" cy="153239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94322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Финансовые показател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7163821" cy="580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ектирование системы когнитивного радио на основе гибридного подхода</a:t>
            </a:r>
          </a:p>
          <a:p>
            <a:endParaRPr lang="ru-RU" sz="1570" dirty="0"/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683954" y="5648167"/>
          <a:ext cx="8492018" cy="66115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109845"/>
                <a:gridCol w="1796408"/>
                <a:gridCol w="917153"/>
                <a:gridCol w="917153"/>
                <a:gridCol w="917153"/>
                <a:gridCol w="917153"/>
                <a:gridCol w="917153"/>
              </a:tblGrid>
              <a:tr h="238062">
                <a:tc rowSpan="2">
                  <a:txBody>
                    <a:bodyPr/>
                    <a:lstStyle/>
                    <a:p>
                      <a:pPr marL="9525" indent="-952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Целевые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 п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оказатели проекта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Единицы измерения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8255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лановое значение 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о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ериодам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246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</a:tr>
              <a:tr h="1598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г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/>
                          <a:cs typeface="Arial" panose="020B0604020202020204" pitchFamily="34" charset="0"/>
                        </a:rPr>
                        <a:t>__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/>
                          <a:cs typeface="Arial" panose="020B0604020202020204" pitchFamily="34" charset="0"/>
                        </a:rPr>
                        <a:t>г.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63255">
                <a:tc>
                  <a:txBody>
                    <a:bodyPr/>
                    <a:lstStyle/>
                    <a:p>
                      <a:pPr marL="8255" indent="-8255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Объем выручки</a:t>
                      </a:r>
                      <a:endParaRPr lang="ru-RU" sz="900" b="1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indent="-4572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млн. </a:t>
                      </a:r>
                      <a:r>
                        <a:rPr lang="ru-RU" sz="900" kern="120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руб</a:t>
                      </a:r>
                      <a:endParaRPr lang="ru-RU" sz="900" kern="1200" dirty="0" smtClean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20</a:t>
                      </a:r>
                      <a:endParaRPr lang="ru-RU" sz="900" dirty="0"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Rounded Rectangle 2099"/>
          <p:cNvSpPr/>
          <p:nvPr/>
        </p:nvSpPr>
        <p:spPr>
          <a:xfrm>
            <a:off x="7324337" y="1572978"/>
            <a:ext cx="1851634" cy="2029930"/>
          </a:xfrm>
          <a:prstGeom prst="roundRect">
            <a:avLst>
              <a:gd name="adj" fmla="val 3557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11" tIns="32655" rIns="65311" bIns="32655" anchor="ctr">
            <a:spAutoFit/>
          </a:bodyPr>
          <a:lstStyle/>
          <a:p>
            <a:pPr algn="ctr">
              <a:spcAft>
                <a:spcPts val="855"/>
              </a:spcAft>
            </a:pPr>
            <a: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Стратегия выхода </a:t>
            </a:r>
            <a:b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</a:br>
            <a: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из проекта для инвесторов: </a:t>
            </a:r>
          </a:p>
          <a:p>
            <a:pPr>
              <a:spcAft>
                <a:spcPts val="430"/>
              </a:spcAft>
            </a:pP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Заполняется только для проектов с желаемой формой финансирования «взнос в уставной капитал» рекомендуется указать стратегии выхода из проекта для </a:t>
            </a:r>
            <a:r>
              <a:rPr lang="ru-RU" sz="1000" spc="71" dirty="0" smtClean="0">
                <a:solidFill>
                  <a:schemeClr val="accent1">
                    <a:lumMod val="75000"/>
                  </a:schemeClr>
                </a:solidFill>
              </a:rPr>
              <a:t>инвесторов</a:t>
            </a:r>
          </a:p>
          <a:p>
            <a:pPr>
              <a:spcAft>
                <a:spcPts val="430"/>
              </a:spcAft>
            </a:pPr>
            <a:endParaRPr lang="ru-RU" sz="1000" spc="7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0" name="Rounded Rectangle 2099"/>
          <p:cNvSpPr/>
          <p:nvPr/>
        </p:nvSpPr>
        <p:spPr>
          <a:xfrm>
            <a:off x="683954" y="4614528"/>
            <a:ext cx="8492016" cy="525964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11" tIns="32655" rIns="65311" bIns="32655" anchor="ctr">
            <a:spAutoFit/>
          </a:bodyPr>
          <a:lstStyle/>
          <a:p>
            <a:pPr algn="ctr">
              <a:spcAft>
                <a:spcPts val="855"/>
              </a:spcAft>
            </a:pPr>
            <a: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Бюджетные деньги, ранее </a:t>
            </a:r>
            <a:r>
              <a:rPr lang="ru-RU" sz="1145" dirty="0" err="1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привлекавшиеся</a:t>
            </a:r>
            <a: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 для финансирования проекта:</a:t>
            </a:r>
          </a:p>
          <a:p>
            <a:pPr>
              <a:spcAft>
                <a:spcPts val="430"/>
              </a:spcAft>
            </a:pP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Перечисляются источники получения, размеры и сроки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50097" y="1185179"/>
            <a:ext cx="6405279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5" dirty="0">
                <a:solidFill>
                  <a:schemeClr val="accent1">
                    <a:lumMod val="50000"/>
                  </a:schemeClr>
                </a:solidFill>
              </a:rPr>
              <a:t>Модель коммерциализации проекта: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90395" y="1124216"/>
            <a:ext cx="6480720" cy="312773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5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487395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План по расходам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7163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ектирование системы когнитивного радио на основе гибридного подхода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581086" y="857287"/>
          <a:ext cx="8692393" cy="5783503"/>
        </p:xfrm>
        <a:graphic>
          <a:graphicData uri="http://schemas.openxmlformats.org/drawingml/2006/table">
            <a:tbl>
              <a:tblPr firstRow="1" firstCol="1" bandRow="1" bandCol="1">
                <a:tableStyleId>{69012ECD-51FC-41F1-AA8D-1B2483CD663E}</a:tableStyleId>
              </a:tblPr>
              <a:tblGrid>
                <a:gridCol w="617211"/>
                <a:gridCol w="3857571"/>
                <a:gridCol w="2160240"/>
                <a:gridCol w="2057371"/>
              </a:tblGrid>
              <a:tr h="160717">
                <a:tc rowSpan="2"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№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indent="450215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Вид расходов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бъем финансового </a:t>
                      </a:r>
                      <a:r>
                        <a:rPr lang="ru-RU" sz="900" dirty="0" smtClean="0">
                          <a:effectLst/>
                        </a:rPr>
                        <a:t>обеспечения</a:t>
                      </a:r>
                      <a:r>
                        <a:rPr lang="ru-RU" sz="900" baseline="0" dirty="0" smtClean="0">
                          <a:effectLst/>
                        </a:rPr>
                        <a:t> </a:t>
                      </a:r>
                      <a:r>
                        <a:rPr lang="ru-RU" sz="900" dirty="0" smtClean="0">
                          <a:effectLst/>
                        </a:rPr>
                        <a:t>реализации </a:t>
                      </a:r>
                      <a:r>
                        <a:rPr lang="ru-RU" sz="900" dirty="0">
                          <a:effectLst/>
                        </a:rPr>
                        <a:t>проекта (рублей)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11606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14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за </a:t>
                      </a:r>
                      <a:r>
                        <a:rPr lang="ru-RU" sz="900" dirty="0">
                          <a:effectLst/>
                        </a:rPr>
                        <a:t>счет </a:t>
                      </a:r>
                      <a:r>
                        <a:rPr lang="ru-RU" sz="900" dirty="0" smtClean="0">
                          <a:effectLst/>
                        </a:rPr>
                        <a:t>средств </a:t>
                      </a:r>
                      <a:r>
                        <a:rPr lang="ru-RU" sz="900" dirty="0">
                          <a:effectLst/>
                        </a:rPr>
                        <a:t>федерального бюджета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за </a:t>
                      </a:r>
                      <a:r>
                        <a:rPr lang="ru-RU" sz="900" dirty="0">
                          <a:effectLst/>
                        </a:rPr>
                        <a:t>счет внебюджетных источников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289362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оплату труда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2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материально-технические расходы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3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технологические работы и услуги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4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аказ исследований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16527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5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патентование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6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сертификацию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7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атенты и ноу-хау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8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лицензионные платежи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9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ограммное обеспечение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1256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0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онсультационные услуги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4272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1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апитальное строительство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2592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2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иобретение недвижимого имущества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808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3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аренда имущества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39274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4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организационные расходы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5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омандировочные расходы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6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очие расходы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  <a:tr h="190403">
                <a:tc gridSpan="2"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Всего</a:t>
                      </a:r>
                      <a:endParaRPr lang="ru-RU" sz="90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/>
                        <a:ea typeface="Times New Roman" panose="02020603050405020304"/>
                        <a:cs typeface="Times New Roman" panose="02020603050405020304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43995" y="1063023"/>
            <a:ext cx="184731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85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591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Picture 2066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591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425452" y="881265"/>
          <a:ext cx="2156460" cy="1260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0037"/>
                <a:gridCol w="1406423"/>
              </a:tblGrid>
              <a:tr h="193155">
                <a:tc gridSpan="2"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УЧАСТНИКИ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79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Руководитель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роекта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ФИО и организация</a:t>
                      </a:r>
                      <a:endParaRPr lang="ru-RU" sz="7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79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Получатель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429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Соисполнитель 1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390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Соисполнитель 2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6" name="Таблица 65"/>
          <p:cNvGraphicFramePr>
            <a:graphicFrameLocks noGrp="1"/>
          </p:cNvGraphicFramePr>
          <p:nvPr/>
        </p:nvGraphicFramePr>
        <p:xfrm>
          <a:off x="2682240" y="877568"/>
          <a:ext cx="2207456" cy="13225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5832"/>
                <a:gridCol w="1091624"/>
              </a:tblGrid>
              <a:tr h="189232">
                <a:tc gridSpan="2"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БЮДЖЕТ ( тыс.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руб. с учетом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налогов</a:t>
                      </a:r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Форма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Затраты всего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Бюджетная поддержка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25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Внебюджетная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оддержка/источники</a:t>
                      </a: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27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% бюджетной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/>
        </p:nvGraphicFramePr>
        <p:xfrm>
          <a:off x="377192" y="2508246"/>
          <a:ext cx="4480560" cy="2703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0560"/>
              </a:tblGrid>
              <a:tr h="2703833">
                <a:tc>
                  <a:txBody>
                    <a:bodyPr/>
                    <a:lstStyle/>
                    <a:p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9" name="Таблица 98"/>
          <p:cNvGraphicFramePr>
            <a:graphicFrameLocks noGrp="1"/>
          </p:cNvGraphicFramePr>
          <p:nvPr/>
        </p:nvGraphicFramePr>
        <p:xfrm>
          <a:off x="381002" y="2364735"/>
          <a:ext cx="4473574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3574"/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ЦЕЛЬ ПРОЕКТА И ОПИСАНИЕ ПРОДУКТА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2" name="Таблица 101"/>
          <p:cNvGraphicFramePr>
            <a:graphicFrameLocks noGrp="1"/>
          </p:cNvGraphicFramePr>
          <p:nvPr/>
        </p:nvGraphicFramePr>
        <p:xfrm>
          <a:off x="5038054" y="877567"/>
          <a:ext cx="4486946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6946"/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ПЛАН РАБОТ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/>
        </p:nvGraphicFramePr>
        <p:xfrm>
          <a:off x="5038054" y="1045922"/>
          <a:ext cx="4453563" cy="4211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124"/>
                <a:gridCol w="451504"/>
                <a:gridCol w="101277"/>
                <a:gridCol w="552781"/>
                <a:gridCol w="552781"/>
                <a:gridCol w="584096"/>
              </a:tblGrid>
              <a:tr h="309154"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Этап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ы / Основные мероприятия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Ответст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-венный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рок реализации</a:t>
                      </a:r>
                    </a:p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лан</a:t>
                      </a:r>
                    </a:p>
                    <a:p>
                      <a:pPr algn="ctr"/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 (тыс. руб. с учетом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логов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231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53443" marR="53443" marT="50419" marB="50419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ная 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Внебюджет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41514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3616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 gridSpan="6"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5678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ершение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217714">
                <a:tc>
                  <a:txBody>
                    <a:bodyPr/>
                    <a:lstStyle/>
                    <a:p>
                      <a:pPr algn="l" fontAlgn="t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вый</a:t>
                      </a:r>
                      <a:r>
                        <a:rPr lang="ru-RU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тчет о результатах проект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4" name="Таблица 103"/>
          <p:cNvGraphicFramePr>
            <a:graphicFrameLocks noGrp="1"/>
          </p:cNvGraphicFramePr>
          <p:nvPr/>
        </p:nvGraphicFramePr>
        <p:xfrm>
          <a:off x="381003" y="5315354"/>
          <a:ext cx="4483099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3099"/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ЦЕЛЕВЫ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ПОКАЗАТЕЛИ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/>
        </p:nvGraphicFramePr>
        <p:xfrm>
          <a:off x="381000" y="5484817"/>
          <a:ext cx="4483103" cy="11391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7854"/>
                <a:gridCol w="586694"/>
                <a:gridCol w="529654"/>
                <a:gridCol w="431871"/>
                <a:gridCol w="464466"/>
                <a:gridCol w="415575"/>
                <a:gridCol w="416989"/>
              </a:tblGrid>
              <a:tr h="293114"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ЦЕЛЕВОЙ ПОКАЗАТЕЛЬ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ЕДИНИЦЫ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ИЗМЕРЕН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ИСХОДНОЕ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ЗНАЧЕНИЕ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48754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8754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2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27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 bwMode="auto">
          <a:xfrm>
            <a:off x="2617472" y="877568"/>
            <a:ext cx="0" cy="1381125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Прямая соединительная линия 107"/>
          <p:cNvCxnSpPr/>
          <p:nvPr/>
        </p:nvCxnSpPr>
        <p:spPr bwMode="auto">
          <a:xfrm>
            <a:off x="4951512" y="882698"/>
            <a:ext cx="0" cy="5723842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Номер слайда 4"/>
          <p:cNvSpPr txBox="1"/>
          <p:nvPr/>
        </p:nvSpPr>
        <p:spPr>
          <a:xfrm>
            <a:off x="7237646" y="6412493"/>
            <a:ext cx="2057400" cy="365125"/>
          </a:xfrm>
          <a:prstGeom prst="rect">
            <a:avLst/>
          </a:prstGeom>
        </p:spPr>
        <p:txBody>
          <a:bodyPr vert="horz" lIns="87273" tIns="43636" rIns="87273" bIns="43636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Chevin Pro Light" charset="0"/>
                <a:cs typeface="Chevin Pro Light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EF660E9-E116-4F2D-91B7-27BAC0D3A970}" type="slidenum">
              <a:rPr lang="ru-RU" sz="855"/>
              <a:t>12</a:t>
            </a:fld>
            <a:endParaRPr lang="ru-RU" sz="855" dirty="0"/>
          </a:p>
        </p:txBody>
      </p:sp>
      <p:sp>
        <p:nvSpPr>
          <p:cNvPr id="3" name="TextBox 2"/>
          <p:cNvSpPr txBox="1"/>
          <p:nvPr/>
        </p:nvSpPr>
        <p:spPr>
          <a:xfrm>
            <a:off x="3554136" y="191813"/>
            <a:ext cx="5552097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85" dirty="0">
                <a:solidFill>
                  <a:srgbClr val="FF0000"/>
                </a:solidFill>
              </a:rPr>
              <a:t>(</a:t>
            </a:r>
            <a:r>
              <a:rPr lang="ru-RU" sz="1285" dirty="0">
                <a:solidFill>
                  <a:srgbClr val="FF0000"/>
                </a:solidFill>
              </a:rPr>
              <a:t>заполняется </a:t>
            </a:r>
            <a:r>
              <a:rPr lang="ru-RU" sz="1285" dirty="0" smtClean="0">
                <a:solidFill>
                  <a:srgbClr val="FF0000"/>
                </a:solidFill>
              </a:rPr>
              <a:t>опционально при желании получения бюджетной поддержки)</a:t>
            </a:r>
            <a:endParaRPr lang="ru-RU" sz="1285" dirty="0">
              <a:solidFill>
                <a:srgbClr val="FF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61820" y="-17097"/>
            <a:ext cx="7163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ектирование системы когнитивного радио на основе гибридного подхода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32520" y="207927"/>
            <a:ext cx="2045816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 smtClean="0"/>
              <a:t>Резюме (модель) проекта</a:t>
            </a:r>
            <a:endParaRPr lang="ru-RU" sz="1285" b="1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/>
          <p:nvPr/>
        </p:nvSpPr>
        <p:spPr>
          <a:xfrm>
            <a:off x="730620" y="2526127"/>
            <a:ext cx="9072282" cy="11217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840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9370" marR="18415">
              <a:lnSpc>
                <a:spcPct val="112000"/>
              </a:lnSpc>
              <a:spcBef>
                <a:spcPts val="630"/>
              </a:spcBef>
            </a:pPr>
            <a:r>
              <a:rPr lang="ru-RU" sz="4800" spc="-44" dirty="0" smtClean="0">
                <a:solidFill>
                  <a:schemeClr val="accent2">
                    <a:lumMod val="50000"/>
                  </a:schemeClr>
                </a:solidFill>
                <a:latin typeface="Lato Black"/>
                <a:cs typeface="Lato Black"/>
              </a:rPr>
              <a:t>Спасибо за внимание!</a:t>
            </a:r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ru-RU" b="1" dirty="0" smtClean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ru-RU" sz="2400" spc="-2" dirty="0">
              <a:solidFill>
                <a:schemeClr val="accent2">
                  <a:lumMod val="50000"/>
                </a:schemeClr>
              </a:solidFill>
              <a:latin typeface="Lato"/>
              <a:cs typeface="Lato"/>
            </a:endParaRPr>
          </a:p>
        </p:txBody>
      </p:sp>
      <p:sp>
        <p:nvSpPr>
          <p:cNvPr id="3" name="Нижний колонтитул 3"/>
          <p:cNvSpPr txBox="1"/>
          <p:nvPr/>
        </p:nvSpPr>
        <p:spPr>
          <a:xfrm>
            <a:off x="636487" y="6137714"/>
            <a:ext cx="278802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</a:rPr>
              <a:t>2022, РГРТУ</a:t>
            </a:r>
            <a:endParaRPr lang="ru-RU" sz="1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463" y="5845148"/>
            <a:ext cx="1661692" cy="950259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7628965" y="49163"/>
            <a:ext cx="2268068" cy="2891261"/>
            <a:chOff x="5699037" y="1158679"/>
            <a:chExt cx="4207116" cy="4540492"/>
          </a:xfrm>
        </p:grpSpPr>
        <p:grpSp>
          <p:nvGrpSpPr>
            <p:cNvPr id="13" name="object 10"/>
            <p:cNvGrpSpPr/>
            <p:nvPr/>
          </p:nvGrpSpPr>
          <p:grpSpPr>
            <a:xfrm>
              <a:off x="5699037" y="1158679"/>
              <a:ext cx="4207078" cy="3613531"/>
              <a:chOff x="11566123" y="1047087"/>
              <a:chExt cx="8538210" cy="7333615"/>
            </a:xfrm>
          </p:grpSpPr>
          <p:sp>
            <p:nvSpPr>
              <p:cNvPr id="15" name="object 11"/>
              <p:cNvSpPr/>
              <p:nvPr/>
            </p:nvSpPr>
            <p:spPr>
              <a:xfrm>
                <a:off x="12830283" y="1108417"/>
                <a:ext cx="7273925" cy="7272655"/>
              </a:xfrm>
              <a:custGeom>
                <a:avLst/>
                <a:gdLst/>
                <a:ahLst/>
                <a:cxnLst/>
                <a:rect l="l" t="t" r="r" b="b"/>
                <a:pathLst>
                  <a:path w="7273925" h="7272655">
                    <a:moveTo>
                      <a:pt x="7273809" y="0"/>
                    </a:moveTo>
                    <a:lnTo>
                      <a:pt x="5644561" y="0"/>
                    </a:lnTo>
                    <a:lnTo>
                      <a:pt x="5644561" y="2112050"/>
                    </a:lnTo>
                    <a:lnTo>
                      <a:pt x="2683876" y="2112050"/>
                    </a:lnTo>
                    <a:lnTo>
                      <a:pt x="2683876" y="3552080"/>
                    </a:lnTo>
                    <a:lnTo>
                      <a:pt x="12041" y="3552080"/>
                    </a:lnTo>
                    <a:lnTo>
                      <a:pt x="12041" y="5496115"/>
                    </a:lnTo>
                    <a:lnTo>
                      <a:pt x="0" y="5520125"/>
                    </a:lnTo>
                    <a:lnTo>
                      <a:pt x="2852373" y="5524093"/>
                    </a:lnTo>
                    <a:lnTo>
                      <a:pt x="2852373" y="7272155"/>
                    </a:lnTo>
                    <a:lnTo>
                      <a:pt x="7273809" y="7272155"/>
                    </a:lnTo>
                    <a:lnTo>
                      <a:pt x="7273809" y="0"/>
                    </a:lnTo>
                    <a:close/>
                  </a:path>
                </a:pathLst>
              </a:custGeom>
              <a:solidFill>
                <a:srgbClr val="457DA2"/>
              </a:solidFill>
            </p:spPr>
            <p:txBody>
              <a:bodyPr wrap="square" lIns="0" tIns="0" rIns="0" bIns="0" rtlCol="0"/>
              <a:lstStyle/>
              <a:p>
                <a:endParaRPr sz="885"/>
              </a:p>
            </p:txBody>
          </p:sp>
          <p:sp>
            <p:nvSpPr>
              <p:cNvPr id="16" name="object 12"/>
              <p:cNvSpPr/>
              <p:nvPr/>
            </p:nvSpPr>
            <p:spPr>
              <a:xfrm>
                <a:off x="11587065" y="1068029"/>
                <a:ext cx="6450330" cy="3185795"/>
              </a:xfrm>
              <a:custGeom>
                <a:avLst/>
                <a:gdLst/>
                <a:ahLst/>
                <a:cxnLst/>
                <a:rect l="l" t="t" r="r" b="b"/>
                <a:pathLst>
                  <a:path w="6450330" h="3185795">
                    <a:moveTo>
                      <a:pt x="6450002" y="1705937"/>
                    </a:moveTo>
                    <a:lnTo>
                      <a:pt x="3354002" y="1705937"/>
                    </a:lnTo>
                    <a:lnTo>
                      <a:pt x="3354002" y="3185295"/>
                    </a:lnTo>
                    <a:lnTo>
                      <a:pt x="0" y="3185295"/>
                    </a:lnTo>
                    <a:lnTo>
                      <a:pt x="0" y="990912"/>
                    </a:lnTo>
                    <a:lnTo>
                      <a:pt x="5136545" y="990912"/>
                    </a:lnTo>
                    <a:lnTo>
                      <a:pt x="5136545" y="0"/>
                    </a:lnTo>
                    <a:lnTo>
                      <a:pt x="6445112" y="0"/>
                    </a:lnTo>
                    <a:lnTo>
                      <a:pt x="6450002" y="1705937"/>
                    </a:lnTo>
                    <a:close/>
                  </a:path>
                </a:pathLst>
              </a:custGeom>
              <a:ln w="41883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885"/>
              </a:p>
            </p:txBody>
          </p:sp>
        </p:grpSp>
        <p:sp>
          <p:nvSpPr>
            <p:cNvPr id="14" name="object 13"/>
            <p:cNvSpPr/>
            <p:nvPr/>
          </p:nvSpPr>
          <p:spPr>
            <a:xfrm>
              <a:off x="8208116" y="4991108"/>
              <a:ext cx="1698037" cy="708063"/>
            </a:xfrm>
            <a:custGeom>
              <a:avLst/>
              <a:gdLst/>
              <a:ahLst/>
              <a:cxnLst/>
              <a:rect l="l" t="t" r="r" b="b"/>
              <a:pathLst>
                <a:path w="3446144" h="1437004">
                  <a:moveTo>
                    <a:pt x="3445832" y="0"/>
                  </a:moveTo>
                  <a:lnTo>
                    <a:pt x="0" y="0"/>
                  </a:lnTo>
                  <a:lnTo>
                    <a:pt x="0" y="1436511"/>
                  </a:lnTo>
                  <a:lnTo>
                    <a:pt x="3445832" y="1436511"/>
                  </a:lnTo>
                  <a:lnTo>
                    <a:pt x="3445832" y="0"/>
                  </a:lnTo>
                  <a:close/>
                </a:path>
              </a:pathLst>
            </a:custGeom>
            <a:solidFill>
              <a:srgbClr val="E93B47"/>
            </a:solidFill>
          </p:spPr>
          <p:txBody>
            <a:bodyPr wrap="square" lIns="0" tIns="0" rIns="0" bIns="0" rtlCol="0"/>
            <a:lstStyle/>
            <a:p>
              <a:endParaRPr sz="885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717176" y="5971994"/>
            <a:ext cx="4545105" cy="19160"/>
            <a:chOff x="717176" y="5971994"/>
            <a:chExt cx="4545105" cy="19160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95" y="29364"/>
            <a:ext cx="3576917" cy="1532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853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7984430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85" b="1" dirty="0"/>
              <a:t>https://pt.2035.university/project/organizacia-sistemy-kognitivnogo-radio-na-platforme-imeusihsa-tehnologij-v-rf</a:t>
            </a:r>
            <a:endParaRPr lang="ru-RU" sz="1285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Shape 185" descr="C:\Users\pankratov.in\YandexDisk\!NTI\DOCS\ProjectPresentation\icons\PNG\256\19.png"/>
          <p:cNvPicPr preferRelativeResize="0"/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478217" y="840843"/>
            <a:ext cx="430058" cy="41147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/>
          <p:cNvSpPr txBox="1"/>
          <p:nvPr/>
        </p:nvSpPr>
        <p:spPr>
          <a:xfrm>
            <a:off x="974720" y="860130"/>
            <a:ext cx="112639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dirty="0"/>
              <a:t>Цель проекта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H="1">
            <a:off x="381000" y="3017526"/>
            <a:ext cx="518921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975162" y="3132163"/>
            <a:ext cx="155734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dirty="0"/>
              <a:t>Результаты проекта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H="1">
            <a:off x="375349" y="5229200"/>
            <a:ext cx="914965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Shape 186" descr="C:\Users\pankratov.in\YandexDisk\!NTI\DOCS\ProjectPresentation\icons\PNG\256\246.png"/>
          <p:cNvPicPr preferRelativeResize="0"/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583655" y="5300038"/>
            <a:ext cx="649242" cy="649242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Shape 180"/>
          <p:cNvSpPr/>
          <p:nvPr/>
        </p:nvSpPr>
        <p:spPr>
          <a:xfrm>
            <a:off x="1422797" y="5388687"/>
            <a:ext cx="4613909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5" dirty="0">
                <a:sym typeface="Calibri" panose="020F0502020204030204"/>
              </a:rPr>
              <a:t>Общая стоимость проекта (тыс. рублей)</a:t>
            </a:r>
            <a:endParaRPr sz="1285" dirty="0"/>
          </a:p>
        </p:txBody>
      </p:sp>
      <p:sp>
        <p:nvSpPr>
          <p:cNvPr id="29" name="Shape 189"/>
          <p:cNvSpPr/>
          <p:nvPr/>
        </p:nvSpPr>
        <p:spPr>
          <a:xfrm>
            <a:off x="5261606" y="5400217"/>
            <a:ext cx="1134336" cy="3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285" b="1" dirty="0" smtClean="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???</a:t>
            </a:r>
            <a:endParaRPr sz="1285" b="1" dirty="0">
              <a:solidFill>
                <a:schemeClr val="dk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30" name="Shape 187"/>
          <p:cNvSpPr/>
          <p:nvPr/>
        </p:nvSpPr>
        <p:spPr>
          <a:xfrm>
            <a:off x="1605364" y="5980340"/>
            <a:ext cx="1598871" cy="439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5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Собственные средства</a:t>
            </a:r>
            <a:br>
              <a:rPr lang="ru-RU" sz="1145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1145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???</a:t>
            </a:r>
            <a:endParaRPr sz="1145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31" name="Shape 190"/>
          <p:cNvSpPr/>
          <p:nvPr/>
        </p:nvSpPr>
        <p:spPr>
          <a:xfrm>
            <a:off x="4027183" y="5980742"/>
            <a:ext cx="1827836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5" b="1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Привлекаемые средства</a:t>
            </a:r>
            <a:br>
              <a:rPr lang="ru-RU" sz="1145" b="1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1145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???</a:t>
            </a:r>
            <a:endParaRPr sz="1145" b="1" dirty="0">
              <a:solidFill>
                <a:schemeClr val="accent5">
                  <a:lumMod val="7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graphicFrame>
        <p:nvGraphicFramePr>
          <p:cNvPr id="32" name="Диаграмма 31"/>
          <p:cNvGraphicFramePr/>
          <p:nvPr/>
        </p:nvGraphicFramePr>
        <p:xfrm>
          <a:off x="3170395" y="5753834"/>
          <a:ext cx="965142" cy="915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Shape 208"/>
          <p:cNvSpPr/>
          <p:nvPr/>
        </p:nvSpPr>
        <p:spPr>
          <a:xfrm>
            <a:off x="478217" y="1271022"/>
            <a:ext cx="4989126" cy="1719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100" dirty="0"/>
              <a:t>Целью проекта является создание устройства </a:t>
            </a:r>
            <a:r>
              <a:rPr lang="ru-RU" sz="1100" dirty="0" smtClean="0"/>
              <a:t>когнитивного радио с гибридным подходом, </a:t>
            </a:r>
            <a:r>
              <a:rPr lang="ru-RU" sz="1100" dirty="0"/>
              <a:t>на основе имеющихся разработок в этой области</a:t>
            </a:r>
            <a:r>
              <a:rPr lang="ru-RU" sz="1100" dirty="0" smtClean="0"/>
              <a:t>. </a:t>
            </a:r>
            <a:endParaRPr lang="ru-RU" sz="1100" dirty="0">
              <a:effectLst/>
            </a:endParaRPr>
          </a:p>
        </p:txBody>
      </p:sp>
      <p:sp>
        <p:nvSpPr>
          <p:cNvPr id="37" name="Shape 208"/>
          <p:cNvSpPr/>
          <p:nvPr/>
        </p:nvSpPr>
        <p:spPr>
          <a:xfrm>
            <a:off x="581086" y="3551774"/>
            <a:ext cx="4989126" cy="1673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/>
            <a:r>
              <a:rPr lang="ru-RU" sz="1100" dirty="0" smtClean="0"/>
              <a:t>Результатом проекта является  система устройств, адаптирующаяся к условиям среды, повышающая эффективность использования спектра частот, строго ограниченного разрешенным диапазоном, а также повышающая  качество доступа к </a:t>
            </a:r>
            <a:r>
              <a:rPr lang="ru-RU" sz="1100" dirty="0" err="1" smtClean="0"/>
              <a:t>Wi-Fi</a:t>
            </a:r>
            <a:r>
              <a:rPr lang="ru-RU" sz="1100" dirty="0" smtClean="0"/>
              <a:t>.</a:t>
            </a:r>
            <a:endParaRPr lang="ru-RU" sz="1070" dirty="0">
              <a:latin typeface="Calibri" panose="020F0502020204030204" charset="0"/>
              <a:cs typeface="Calibri" panose="020F0502020204030204" charset="0"/>
            </a:endParaRPr>
          </a:p>
        </p:txBody>
      </p:sp>
      <p:pic>
        <p:nvPicPr>
          <p:cNvPr id="39" name="Shape 177" descr="C:\Users\pankratov.in\YandexDisk\!NTI\DOCS\ProjectPresentation\icons\PNG\256\330.png"/>
          <p:cNvPicPr preferRelativeResize="0"/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543549" y="3120394"/>
            <a:ext cx="411831" cy="40297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TextBox 44"/>
          <p:cNvSpPr txBox="1"/>
          <p:nvPr/>
        </p:nvSpPr>
        <p:spPr>
          <a:xfrm>
            <a:off x="5695734" y="805852"/>
            <a:ext cx="140544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dirty="0"/>
              <a:t>Команда проекта</a:t>
            </a:r>
          </a:p>
        </p:txBody>
      </p:sp>
      <p:sp>
        <p:nvSpPr>
          <p:cNvPr id="46" name="Shape 275"/>
          <p:cNvSpPr/>
          <p:nvPr/>
        </p:nvSpPr>
        <p:spPr>
          <a:xfrm>
            <a:off x="6304918" y="1213242"/>
            <a:ext cx="1562335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Козупица Иван</a:t>
            </a:r>
            <a:r>
              <a:rPr lang="ru-RU" sz="1000" b="1" dirty="0" smtClean="0">
                <a:solidFill>
                  <a:srgbClr val="00346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/>
            </a:r>
            <a:br>
              <a:rPr lang="ru-RU" sz="1000" b="1" dirty="0" smtClean="0">
                <a:solidFill>
                  <a:srgbClr val="00346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930" dirty="0" smtClean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Автор идеи и методолог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47" name="Shape 280"/>
          <p:cNvSpPr/>
          <p:nvPr/>
        </p:nvSpPr>
        <p:spPr>
          <a:xfrm>
            <a:off x="8028607" y="1423063"/>
            <a:ext cx="1399176" cy="30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endParaRPr sz="785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50" name="Shape 275"/>
          <p:cNvSpPr/>
          <p:nvPr/>
        </p:nvSpPr>
        <p:spPr>
          <a:xfrm>
            <a:off x="6275774" y="1560064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Владислав </a:t>
            </a:r>
            <a:r>
              <a:rPr lang="ru-RU" sz="1000" b="1" dirty="0" err="1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Плющиков</a:t>
            </a:r>
            <a:endParaRPr lang="ru-RU" sz="1000" b="1" dirty="0" smtClean="0">
              <a:solidFill>
                <a:srgbClr val="003462"/>
              </a:solidFill>
              <a:ea typeface="Calibri" panose="020F0502020204030204"/>
              <a:cs typeface="Calibri" panose="020F0502020204030204"/>
              <a:sym typeface="Calibri" panose="020F0502020204030204"/>
            </a:endParaRPr>
          </a:p>
          <a:p>
            <a:r>
              <a:rPr lang="ru-RU" sz="930" dirty="0" smtClean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Архитектор системы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51" name="Shape 280"/>
          <p:cNvSpPr/>
          <p:nvPr/>
        </p:nvSpPr>
        <p:spPr>
          <a:xfrm>
            <a:off x="6229141" y="2193484"/>
            <a:ext cx="1309651" cy="309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endParaRPr sz="785" dirty="0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52" name="Shape 275"/>
          <p:cNvSpPr/>
          <p:nvPr/>
        </p:nvSpPr>
        <p:spPr>
          <a:xfrm>
            <a:off x="8015622" y="1550525"/>
            <a:ext cx="1494491" cy="498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Федотов Виктор </a:t>
            </a:r>
            <a:r>
              <a:rPr lang="ru-RU" sz="930" dirty="0" smtClean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Технический специалист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53" name="Shape 280"/>
          <p:cNvSpPr/>
          <p:nvPr/>
        </p:nvSpPr>
        <p:spPr>
          <a:xfrm>
            <a:off x="8028607" y="2356968"/>
            <a:ext cx="1346012" cy="3074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endParaRPr sz="1285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5673080" y="2538082"/>
            <a:ext cx="4139244" cy="285878"/>
          </a:xfrm>
          <a:prstGeom prst="rect">
            <a:avLst/>
          </a:prstGeom>
        </p:spPr>
        <p:txBody>
          <a:bodyPr wrap="square" lIns="65309" tIns="32654" rIns="65309" bIns="32654">
            <a:spAutoFit/>
          </a:bodyPr>
          <a:lstStyle/>
          <a:p>
            <a:pPr>
              <a:spcBef>
                <a:spcPts val="430"/>
              </a:spcBef>
            </a:pPr>
            <a:r>
              <a:rPr lang="ru-RU" sz="1430" dirty="0"/>
              <a:t>Компания-инициатор</a:t>
            </a:r>
            <a:endParaRPr lang="ru-RU" sz="1430" b="1" u="sng" dirty="0">
              <a:solidFill>
                <a:srgbClr val="232323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63" name="Shape 179"/>
          <p:cNvSpPr/>
          <p:nvPr/>
        </p:nvSpPr>
        <p:spPr>
          <a:xfrm>
            <a:off x="6695133" y="4284212"/>
            <a:ext cx="1755399" cy="1047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70" b="1" dirty="0">
                <a:solidFill>
                  <a:schemeClr val="dk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/>
            </a:r>
            <a:br>
              <a:rPr lang="ru-RU" sz="1070" b="1" dirty="0">
                <a:solidFill>
                  <a:schemeClr val="dk2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1070" dirty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Этап 1. Пилот: </a:t>
            </a:r>
            <a:r>
              <a:rPr lang="ru-RU" sz="1070" dirty="0" smtClean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2023-2024</a:t>
            </a:r>
            <a:endParaRPr sz="1070" dirty="0">
              <a:latin typeface="Calibri" panose="020F0502020204030204" charset="0"/>
              <a:cs typeface="Calibri" panose="020F0502020204030204" charset="0"/>
            </a:endParaRPr>
          </a:p>
          <a:p>
            <a:pPr>
              <a:spcBef>
                <a:spcPts val="430"/>
              </a:spcBef>
            </a:pPr>
            <a:r>
              <a:rPr lang="ru-RU" sz="1070" dirty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Этап 2. Развитие: </a:t>
            </a:r>
            <a:r>
              <a:rPr lang="ru-RU" sz="1070" dirty="0" smtClean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2024-2026</a:t>
            </a:r>
            <a:endParaRPr sz="1070" dirty="0">
              <a:latin typeface="Calibri" panose="020F0502020204030204" charset="0"/>
              <a:cs typeface="Calibri" panose="020F0502020204030204" charset="0"/>
            </a:endParaRPr>
          </a:p>
          <a:p>
            <a:pPr>
              <a:spcBef>
                <a:spcPts val="430"/>
              </a:spcBef>
            </a:pPr>
            <a:r>
              <a:rPr lang="ru-RU" sz="1070" dirty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Этап 3. Тираж: </a:t>
            </a:r>
            <a:r>
              <a:rPr lang="ru-RU" sz="1070" dirty="0" smtClean="0">
                <a:latin typeface="Calibri" panose="020F0502020204030204" charset="0"/>
                <a:cs typeface="Calibri" panose="020F0502020204030204" charset="0"/>
                <a:sym typeface="Calibri" panose="020F0502020204030204"/>
              </a:rPr>
              <a:t>2026-2027</a:t>
            </a:r>
            <a:endParaRPr sz="1070" dirty="0">
              <a:latin typeface="Calibri" panose="020F0502020204030204" charset="0"/>
              <a:cs typeface="Calibri" panose="020F0502020204030204" charset="0"/>
            </a:endParaRPr>
          </a:p>
          <a:p>
            <a:endParaRPr sz="1070" dirty="0">
              <a:latin typeface="Calibri" panose="020F0502020204030204" charset="0"/>
              <a:cs typeface="Calibri" panose="020F0502020204030204" charset="0"/>
              <a:sym typeface="Calibri" panose="020F0502020204030204"/>
            </a:endParaRPr>
          </a:p>
        </p:txBody>
      </p:sp>
      <p:pic>
        <p:nvPicPr>
          <p:cNvPr id="64" name="Shape 191" descr="C:\Users\pankratov.in\YandexDisk\!NTI\DOCS\ProjectPresentation\icons\PNG\256\372.png"/>
          <p:cNvPicPr preferRelativeResize="0"/>
          <p:nvPr/>
        </p:nvPicPr>
        <p:blipFill rotWithShape="1">
          <a:blip r:embed="rId6"/>
          <a:srcRect/>
          <a:stretch>
            <a:fillRect/>
          </a:stretch>
        </p:blipFill>
        <p:spPr>
          <a:xfrm>
            <a:off x="6265509" y="4250595"/>
            <a:ext cx="352459" cy="36139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6" name="Shape 203"/>
          <p:cNvGrpSpPr/>
          <p:nvPr/>
        </p:nvGrpSpPr>
        <p:grpSpPr>
          <a:xfrm>
            <a:off x="6238857" y="4171603"/>
            <a:ext cx="215490" cy="263809"/>
            <a:chOff x="8202534" y="1348519"/>
            <a:chExt cx="301686" cy="369332"/>
          </a:xfrm>
        </p:grpSpPr>
        <p:sp>
          <p:nvSpPr>
            <p:cNvPr id="67" name="Shape 204"/>
            <p:cNvSpPr/>
            <p:nvPr/>
          </p:nvSpPr>
          <p:spPr>
            <a:xfrm>
              <a:off x="8262938" y="1447963"/>
              <a:ext cx="173414" cy="173414"/>
            </a:xfrm>
            <a:prstGeom prst="roundRect">
              <a:avLst>
                <a:gd name="adj" fmla="val 50000"/>
              </a:avLst>
            </a:prstGeom>
            <a:solidFill>
              <a:srgbClr val="FFD05B"/>
            </a:solidFill>
            <a:ln>
              <a:noFill/>
            </a:ln>
          </p:spPr>
          <p:txBody>
            <a:bodyPr spcFirstLastPara="1" wrap="square" lIns="65304" tIns="32643" rIns="65304" bIns="32643" anchor="ctr" anchorCtr="0">
              <a:noAutofit/>
            </a:bodyPr>
            <a:lstStyle/>
            <a:p>
              <a:pPr algn="ctr"/>
              <a:endParaRPr sz="1285">
                <a:solidFill>
                  <a:schemeClr val="lt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endParaRPr>
            </a:p>
          </p:txBody>
        </p:sp>
        <p:sp>
          <p:nvSpPr>
            <p:cNvPr id="68" name="Shape 205"/>
            <p:cNvSpPr txBox="1"/>
            <p:nvPr/>
          </p:nvSpPr>
          <p:spPr>
            <a:xfrm>
              <a:off x="8202534" y="1348519"/>
              <a:ext cx="301686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5304" tIns="32643" rIns="65304" bIns="32643" anchor="t" anchorCtr="0">
              <a:noAutofit/>
            </a:bodyPr>
            <a:lstStyle/>
            <a:p>
              <a:r>
                <a:rPr lang="ru-RU" sz="1285">
                  <a:solidFill>
                    <a:schemeClr val="dk1"/>
                  </a:solidFill>
                  <a:latin typeface="Calibri" panose="020F0502020204030204"/>
                  <a:ea typeface="Calibri" panose="020F0502020204030204"/>
                  <a:cs typeface="Calibri" panose="020F0502020204030204"/>
                  <a:sym typeface="Calibri" panose="020F0502020204030204"/>
                </a:rPr>
                <a:t>Р</a:t>
              </a:r>
              <a:endParaRPr sz="1285"/>
            </a:p>
          </p:txBody>
        </p:sp>
        <p:cxnSp>
          <p:nvCxnSpPr>
            <p:cNvPr id="69" name="Shape 206"/>
            <p:cNvCxnSpPr/>
            <p:nvPr/>
          </p:nvCxnSpPr>
          <p:spPr>
            <a:xfrm>
              <a:off x="8299637" y="1568905"/>
              <a:ext cx="89926" cy="0"/>
            </a:xfrm>
            <a:prstGeom prst="straightConnector1">
              <a:avLst/>
            </a:prstGeom>
            <a:noFill/>
            <a:ln w="952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70" name="Прямоугольник 69"/>
          <p:cNvSpPr/>
          <p:nvPr/>
        </p:nvSpPr>
        <p:spPr>
          <a:xfrm>
            <a:off x="6664228" y="4129909"/>
            <a:ext cx="121058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dirty="0">
                <a:sym typeface="Calibri" panose="020F0502020204030204"/>
              </a:rPr>
              <a:t>Сроки проекта</a:t>
            </a:r>
            <a:endParaRPr lang="ru-RU" sz="1285" dirty="0"/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5564560" y="4149080"/>
            <a:ext cx="396044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5570211" y="754417"/>
            <a:ext cx="0" cy="4474783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7163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ектирование системы когнитивного радио на основе гибридного подхода</a:t>
            </a:r>
          </a:p>
        </p:txBody>
      </p:sp>
      <p:sp>
        <p:nvSpPr>
          <p:cNvPr id="76" name="Shape 190"/>
          <p:cNvSpPr/>
          <p:nvPr/>
        </p:nvSpPr>
        <p:spPr>
          <a:xfrm>
            <a:off x="6914241" y="6332514"/>
            <a:ext cx="1670786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5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Грант</a:t>
            </a:r>
            <a:r>
              <a:rPr lang="ru-RU" sz="1145" b="1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/>
            </a:r>
            <a:br>
              <a:rPr lang="ru-RU" sz="1145" b="1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1145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???</a:t>
            </a:r>
            <a:endParaRPr sz="1145" b="1" dirty="0">
              <a:solidFill>
                <a:schemeClr val="accent5">
                  <a:lumMod val="7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84" name="Shape 190"/>
          <p:cNvSpPr/>
          <p:nvPr/>
        </p:nvSpPr>
        <p:spPr>
          <a:xfrm>
            <a:off x="6627993" y="5493084"/>
            <a:ext cx="2263109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5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Взнос в уставной капитал</a:t>
            </a:r>
            <a:br>
              <a:rPr lang="ru-RU" sz="1145" dirty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r>
              <a:rPr lang="ru-RU" sz="1145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???</a:t>
            </a:r>
            <a:endParaRPr sz="1145" b="1" dirty="0">
              <a:solidFill>
                <a:schemeClr val="accent5">
                  <a:lumMod val="7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cxnSp>
        <p:nvCxnSpPr>
          <p:cNvPr id="6" name="Прямая со стрелкой 5"/>
          <p:cNvCxnSpPr/>
          <p:nvPr/>
        </p:nvCxnSpPr>
        <p:spPr>
          <a:xfrm flipV="1">
            <a:off x="5855019" y="5671603"/>
            <a:ext cx="840114" cy="4876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5855019" y="6159261"/>
            <a:ext cx="840114" cy="41732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Shape 275"/>
          <p:cNvSpPr/>
          <p:nvPr/>
        </p:nvSpPr>
        <p:spPr>
          <a:xfrm>
            <a:off x="6143008" y="2823853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5" b="1" dirty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ООО Пример</a:t>
            </a:r>
            <a:endParaRPr sz="665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86" name="Shape 280"/>
          <p:cNvSpPr/>
          <p:nvPr/>
        </p:nvSpPr>
        <p:spPr>
          <a:xfrm>
            <a:off x="6141648" y="2984389"/>
            <a:ext cx="1267269" cy="2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0" dirty="0">
                <a:latin typeface="Calibri" panose="020F0502020204030204"/>
                <a:sym typeface="Calibri" panose="020F0502020204030204"/>
              </a:rPr>
              <a:t>Примерное описание компании</a:t>
            </a:r>
            <a:endParaRPr sz="685" dirty="0"/>
          </a:p>
        </p:txBody>
      </p:sp>
      <p:sp>
        <p:nvSpPr>
          <p:cNvPr id="87" name="Shape 288"/>
          <p:cNvSpPr/>
          <p:nvPr/>
        </p:nvSpPr>
        <p:spPr>
          <a:xfrm>
            <a:off x="5708750" y="2817434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0" dirty="0">
                <a:solidFill>
                  <a:schemeClr val="dk1"/>
                </a:solidFill>
                <a:latin typeface="Calibri" panose="020F0502020204030204"/>
                <a:sym typeface="Calibri" panose="020F0502020204030204"/>
              </a:rPr>
              <a:t>Лого</a:t>
            </a:r>
            <a:endParaRPr sz="560" dirty="0"/>
          </a:p>
        </p:txBody>
      </p:sp>
      <p:sp>
        <p:nvSpPr>
          <p:cNvPr id="89" name="Прямоугольник 88"/>
          <p:cNvSpPr/>
          <p:nvPr/>
        </p:nvSpPr>
        <p:spPr>
          <a:xfrm>
            <a:off x="5673382" y="3237068"/>
            <a:ext cx="3138294" cy="285878"/>
          </a:xfrm>
          <a:prstGeom prst="rect">
            <a:avLst/>
          </a:prstGeom>
        </p:spPr>
        <p:txBody>
          <a:bodyPr wrap="square" lIns="65309" tIns="32654" rIns="65309" bIns="32654">
            <a:spAutoFit/>
          </a:bodyPr>
          <a:lstStyle/>
          <a:p>
            <a:pPr>
              <a:spcBef>
                <a:spcPts val="430"/>
              </a:spcBef>
            </a:pPr>
            <a:r>
              <a:rPr lang="ru-RU" sz="1430" dirty="0"/>
              <a:t>Компании-соисполнители</a:t>
            </a:r>
            <a:endParaRPr lang="ru-RU" sz="1430" b="1" u="sng" dirty="0">
              <a:solidFill>
                <a:srgbClr val="232323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90" name="Shape 275"/>
          <p:cNvSpPr/>
          <p:nvPr/>
        </p:nvSpPr>
        <p:spPr>
          <a:xfrm>
            <a:off x="6143008" y="3619920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5" b="1" dirty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ООО Техника</a:t>
            </a:r>
            <a:endParaRPr sz="665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91" name="Shape 280"/>
          <p:cNvSpPr/>
          <p:nvPr/>
        </p:nvSpPr>
        <p:spPr>
          <a:xfrm>
            <a:off x="6141649" y="3773198"/>
            <a:ext cx="1058549" cy="178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0" dirty="0">
                <a:latin typeface="Calibri" panose="020F0502020204030204"/>
                <a:sym typeface="Calibri" panose="020F0502020204030204"/>
              </a:rPr>
              <a:t>Производит сборку оборудования</a:t>
            </a:r>
            <a:endParaRPr sz="685" dirty="0"/>
          </a:p>
        </p:txBody>
      </p:sp>
      <p:sp>
        <p:nvSpPr>
          <p:cNvPr id="92" name="Shape 288"/>
          <p:cNvSpPr/>
          <p:nvPr/>
        </p:nvSpPr>
        <p:spPr>
          <a:xfrm>
            <a:off x="5708750" y="3640714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0" dirty="0">
                <a:solidFill>
                  <a:schemeClr val="dk1"/>
                </a:solidFill>
                <a:latin typeface="Calibri" panose="020F0502020204030204"/>
                <a:sym typeface="Calibri" panose="020F0502020204030204"/>
              </a:rPr>
              <a:t>Лого</a:t>
            </a:r>
            <a:endParaRPr sz="560" dirty="0"/>
          </a:p>
        </p:txBody>
      </p:sp>
      <p:sp>
        <p:nvSpPr>
          <p:cNvPr id="93" name="Shape 275"/>
          <p:cNvSpPr/>
          <p:nvPr/>
        </p:nvSpPr>
        <p:spPr>
          <a:xfrm>
            <a:off x="7645504" y="3628778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5" b="1" dirty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ООО Роботы</a:t>
            </a:r>
            <a:br>
              <a:rPr lang="ru-RU" sz="715" b="1" dirty="0"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</a:br>
            <a:endParaRPr sz="665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94" name="Shape 280"/>
          <p:cNvSpPr/>
          <p:nvPr/>
        </p:nvSpPr>
        <p:spPr>
          <a:xfrm>
            <a:off x="7644145" y="3796571"/>
            <a:ext cx="1267269" cy="2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0" dirty="0">
                <a:latin typeface="Calibri" panose="020F0502020204030204"/>
                <a:sym typeface="Calibri" panose="020F0502020204030204"/>
              </a:rPr>
              <a:t>Разрабатывает алгоритмы </a:t>
            </a:r>
            <a:r>
              <a:rPr lang="en-US" sz="560" dirty="0">
                <a:latin typeface="Calibri" panose="020F0502020204030204"/>
                <a:sym typeface="Calibri" panose="020F0502020204030204"/>
              </a:rPr>
              <a:t>ML </a:t>
            </a:r>
            <a:endParaRPr sz="685" dirty="0"/>
          </a:p>
        </p:txBody>
      </p:sp>
      <p:sp>
        <p:nvSpPr>
          <p:cNvPr id="95" name="Shape 288"/>
          <p:cNvSpPr/>
          <p:nvPr/>
        </p:nvSpPr>
        <p:spPr>
          <a:xfrm>
            <a:off x="7211247" y="3622358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0" dirty="0">
                <a:solidFill>
                  <a:schemeClr val="dk1"/>
                </a:solidFill>
                <a:latin typeface="Calibri" panose="020F0502020204030204"/>
                <a:sym typeface="Calibri" panose="020F0502020204030204"/>
              </a:rPr>
              <a:t>Лого</a:t>
            </a:r>
            <a:endParaRPr sz="560" dirty="0"/>
          </a:p>
        </p:txBody>
      </p:sp>
      <p:sp>
        <p:nvSpPr>
          <p:cNvPr id="57" name="Shape 275"/>
          <p:cNvSpPr/>
          <p:nvPr/>
        </p:nvSpPr>
        <p:spPr>
          <a:xfrm>
            <a:off x="6273421" y="1899328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err="1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Гуреев</a:t>
            </a:r>
            <a:r>
              <a:rPr lang="ru-RU" sz="1000" b="1" dirty="0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 Дмитрий</a:t>
            </a:r>
          </a:p>
          <a:p>
            <a:r>
              <a:rPr lang="ru-RU" sz="930" dirty="0">
                <a:ea typeface="Calibri" panose="020F0502020204030204"/>
                <a:cs typeface="Calibri" panose="020F0502020204030204"/>
                <a:sym typeface="Calibri" panose="020F0502020204030204"/>
              </a:rPr>
              <a:t>Технический специалист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60" name="Shape 275"/>
          <p:cNvSpPr/>
          <p:nvPr/>
        </p:nvSpPr>
        <p:spPr>
          <a:xfrm>
            <a:off x="8009557" y="1922450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Груздова Ольга</a:t>
            </a:r>
          </a:p>
          <a:p>
            <a:r>
              <a:rPr lang="ru-RU" sz="930" dirty="0">
                <a:ea typeface="Calibri" panose="020F0502020204030204"/>
                <a:cs typeface="Calibri" panose="020F0502020204030204"/>
                <a:sym typeface="Calibri" panose="020F0502020204030204"/>
              </a:rPr>
              <a:t>Технический специалист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61" name="Shape 275"/>
          <p:cNvSpPr/>
          <p:nvPr/>
        </p:nvSpPr>
        <p:spPr>
          <a:xfrm>
            <a:off x="8009557" y="2273056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Кузнецова Ксения</a:t>
            </a:r>
          </a:p>
          <a:p>
            <a:r>
              <a:rPr lang="ru-RU" sz="930" dirty="0">
                <a:ea typeface="Calibri" panose="020F0502020204030204"/>
                <a:cs typeface="Calibri" panose="020F0502020204030204"/>
                <a:sym typeface="Calibri" panose="020F0502020204030204"/>
              </a:rPr>
              <a:t>Экономический</a:t>
            </a:r>
            <a:r>
              <a:rPr lang="ru-RU" sz="930" dirty="0" smtClean="0">
                <a:ea typeface="Calibri" panose="020F0502020204030204"/>
                <a:cs typeface="Calibri" panose="020F0502020204030204"/>
                <a:sym typeface="Calibri" panose="020F0502020204030204"/>
              </a:rPr>
              <a:t> </a:t>
            </a:r>
            <a:r>
              <a:rPr lang="ru-RU" sz="930" dirty="0">
                <a:ea typeface="Calibri" panose="020F0502020204030204"/>
                <a:cs typeface="Calibri" panose="020F0502020204030204"/>
                <a:sym typeface="Calibri" panose="020F0502020204030204"/>
              </a:rPr>
              <a:t>специалист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62" name="Shape 275"/>
          <p:cNvSpPr/>
          <p:nvPr/>
        </p:nvSpPr>
        <p:spPr>
          <a:xfrm>
            <a:off x="6308914" y="2273057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ea typeface="Calibri" panose="020F0502020204030204"/>
                <a:cs typeface="Calibri" panose="020F0502020204030204"/>
                <a:sym typeface="Calibri" panose="020F0502020204030204"/>
              </a:rPr>
              <a:t>Черкасова Софья</a:t>
            </a:r>
          </a:p>
          <a:p>
            <a:r>
              <a:rPr lang="ru-RU" sz="930" dirty="0" smtClean="0">
                <a:ea typeface="Calibri" panose="020F0502020204030204"/>
                <a:cs typeface="Calibri" panose="020F0502020204030204"/>
                <a:sym typeface="Calibri" panose="020F0502020204030204"/>
              </a:rPr>
              <a:t>Экономический </a:t>
            </a:r>
            <a:r>
              <a:rPr lang="ru-RU" sz="930" dirty="0">
                <a:ea typeface="Calibri" panose="020F0502020204030204"/>
                <a:cs typeface="Calibri" panose="020F0502020204030204"/>
                <a:sym typeface="Calibri" panose="020F0502020204030204"/>
              </a:rPr>
              <a:t>специалист</a:t>
            </a:r>
            <a:endParaRPr sz="930" dirty="0"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76362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 smtClean="0"/>
              <a:t>Актуальность проекта</a:t>
            </a:r>
            <a:endParaRPr lang="ru-RU" sz="1285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62736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Проектирование системы когнитивного радио на основе гибридного подхода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395" y="1162089"/>
            <a:ext cx="5046134" cy="2467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5881511" y="1343378"/>
            <a:ext cx="3127022" cy="643466"/>
          </a:xfrm>
          <a:prstGeom prst="rect">
            <a:avLst/>
          </a:prstGeom>
          <a:solidFill>
            <a:srgbClr val="3681B4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Когнитивное радио </a:t>
            </a:r>
          </a:p>
          <a:p>
            <a:pPr algn="ctr"/>
            <a:r>
              <a:rPr lang="ru-RU" dirty="0" smtClean="0"/>
              <a:t>В диапазоне 2.4-3.0 </a:t>
            </a:r>
            <a:r>
              <a:rPr lang="en-US" dirty="0" smtClean="0"/>
              <a:t>[</a:t>
            </a:r>
            <a:r>
              <a:rPr lang="ru-RU" dirty="0" smtClean="0"/>
              <a:t>ГГц</a:t>
            </a:r>
            <a:r>
              <a:rPr lang="en-US" dirty="0"/>
              <a:t>]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1102372" y="4029563"/>
            <a:ext cx="2235200" cy="1039987"/>
          </a:xfrm>
          <a:prstGeom prst="rect">
            <a:avLst/>
          </a:prstGeom>
          <a:ln w="1905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Анализ параметров радиоканала</a:t>
            </a:r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3897185" y="4646217"/>
            <a:ext cx="2235200" cy="1068783"/>
          </a:xfrm>
          <a:prstGeom prst="rect">
            <a:avLst/>
          </a:prstGeom>
          <a:ln w="1905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Контроль излучаемой мощности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6591508" y="4029564"/>
            <a:ext cx="2235200" cy="1039986"/>
          </a:xfrm>
          <a:prstGeom prst="rect">
            <a:avLst/>
          </a:prstGeom>
          <a:ln w="1905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Адаптация параметров в зависимости от среды</a:t>
            </a:r>
            <a:endParaRPr lang="ru-RU" dirty="0"/>
          </a:p>
        </p:txBody>
      </p:sp>
      <p:cxnSp>
        <p:nvCxnSpPr>
          <p:cNvPr id="34" name="Соединительная линия уступом 33"/>
          <p:cNvCxnSpPr>
            <a:stCxn id="22" idx="0"/>
          </p:cNvCxnSpPr>
          <p:nvPr/>
        </p:nvCxnSpPr>
        <p:spPr>
          <a:xfrm rot="5400000" flipH="1" flipV="1">
            <a:off x="7049876" y="2651718"/>
            <a:ext cx="2037078" cy="718615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4" name="Прямая соединительная линия 4113"/>
          <p:cNvCxnSpPr/>
          <p:nvPr/>
        </p:nvCxnSpPr>
        <p:spPr>
          <a:xfrm>
            <a:off x="6431280" y="1992486"/>
            <a:ext cx="0" cy="94826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 flipV="1">
            <a:off x="6132385" y="2940750"/>
            <a:ext cx="1331" cy="77837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 flipH="1">
            <a:off x="2219974" y="3719121"/>
            <a:ext cx="3912411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>
            <a:endCxn id="18" idx="0"/>
          </p:cNvCxnSpPr>
          <p:nvPr/>
        </p:nvCxnSpPr>
        <p:spPr>
          <a:xfrm flipH="1">
            <a:off x="2219972" y="3719121"/>
            <a:ext cx="2" cy="31044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>
            <a:endCxn id="10" idx="2"/>
          </p:cNvCxnSpPr>
          <p:nvPr/>
        </p:nvCxnSpPr>
        <p:spPr>
          <a:xfrm flipV="1">
            <a:off x="7445022" y="1986844"/>
            <a:ext cx="0" cy="145739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 flipH="1">
            <a:off x="6431280" y="3444240"/>
            <a:ext cx="1013742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6431280" y="3444240"/>
            <a:ext cx="0" cy="59436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/>
        </p:nvCxnSpPr>
        <p:spPr>
          <a:xfrm flipH="1">
            <a:off x="5016116" y="4038600"/>
            <a:ext cx="141516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>
            <a:endCxn id="21" idx="0"/>
          </p:cNvCxnSpPr>
          <p:nvPr/>
        </p:nvCxnSpPr>
        <p:spPr>
          <a:xfrm flipH="1">
            <a:off x="5014785" y="4038600"/>
            <a:ext cx="1332" cy="60761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5814060" y="1162089"/>
            <a:ext cx="617220" cy="50302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5" name="Прямоугольник 94"/>
          <p:cNvSpPr/>
          <p:nvPr/>
        </p:nvSpPr>
        <p:spPr>
          <a:xfrm>
            <a:off x="8741631" y="1121634"/>
            <a:ext cx="371889" cy="34902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Прямоугольник 95"/>
          <p:cNvSpPr/>
          <p:nvPr/>
        </p:nvSpPr>
        <p:spPr>
          <a:xfrm>
            <a:off x="6133716" y="1194236"/>
            <a:ext cx="2679243" cy="20381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Прямоугольник 96"/>
          <p:cNvSpPr/>
          <p:nvPr/>
        </p:nvSpPr>
        <p:spPr>
          <a:xfrm>
            <a:off x="8679180" y="1569720"/>
            <a:ext cx="434340" cy="62093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Прямоугольник 97"/>
          <p:cNvSpPr/>
          <p:nvPr/>
        </p:nvSpPr>
        <p:spPr>
          <a:xfrm>
            <a:off x="8427722" y="1257480"/>
            <a:ext cx="685797" cy="40763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 98"/>
          <p:cNvSpPr/>
          <p:nvPr/>
        </p:nvSpPr>
        <p:spPr>
          <a:xfrm>
            <a:off x="5814060" y="1461295"/>
            <a:ext cx="319656" cy="72936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2" name="Прямая соединительная линия 101"/>
          <p:cNvCxnSpPr/>
          <p:nvPr/>
        </p:nvCxnSpPr>
        <p:spPr>
          <a:xfrm flipH="1">
            <a:off x="6133716" y="2940750"/>
            <a:ext cx="29756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Скругленный прямоугольник 7"/>
          <p:cNvSpPr/>
          <p:nvPr/>
        </p:nvSpPr>
        <p:spPr>
          <a:xfrm>
            <a:off x="690395" y="1063023"/>
            <a:ext cx="8485576" cy="4979189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285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91800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 smtClean="0"/>
              <a:t>Проблема</a:t>
            </a:r>
            <a:endParaRPr lang="ru-RU" sz="1285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7163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ектирование системы когнитивного радио на основе гибридного подход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04813" y="940083"/>
            <a:ext cx="3104932" cy="2351758"/>
          </a:xfrm>
          <a:prstGeom prst="rect">
            <a:avLst/>
          </a:prstGeom>
          <a:solidFill>
            <a:srgbClr val="3681B4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/>
              <a:t>Не прекращающийся рост количества радиоустройств, и в то же время затруднительный доступ к использованию </a:t>
            </a:r>
            <a:r>
              <a:rPr lang="ru-RU" sz="2000" dirty="0" smtClean="0"/>
              <a:t>больших </a:t>
            </a:r>
            <a:r>
              <a:rPr lang="ru-RU" sz="2000" dirty="0"/>
              <a:t>диапазонов частот является существенной проблемой. </a:t>
            </a:r>
            <a:endParaRPr lang="ru-RU" sz="20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2628901" y="1264919"/>
            <a:ext cx="1455418" cy="24384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3497688" y="890588"/>
            <a:ext cx="243731" cy="54959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381000" y="915336"/>
            <a:ext cx="138113" cy="240125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450057" y="1264919"/>
            <a:ext cx="892970" cy="24384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3356610" y="1840916"/>
            <a:ext cx="232410" cy="31767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3400207" y="1508761"/>
            <a:ext cx="341947" cy="40576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459642" y="1877835"/>
            <a:ext cx="172878" cy="24384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3356610" y="2027871"/>
            <a:ext cx="352643" cy="103917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3132991" y="2409824"/>
            <a:ext cx="223619" cy="65722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404814" y="2409825"/>
            <a:ext cx="339516" cy="65722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744329" y="2771775"/>
            <a:ext cx="284371" cy="29527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2852738" y="2771775"/>
            <a:ext cx="341947" cy="2952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749" y="3464880"/>
            <a:ext cx="1100472" cy="139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2022" y="1055837"/>
            <a:ext cx="1195562" cy="364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Прямоугольник 28"/>
          <p:cNvSpPr/>
          <p:nvPr/>
        </p:nvSpPr>
        <p:spPr>
          <a:xfrm>
            <a:off x="3450008" y="2425701"/>
            <a:ext cx="352643" cy="103917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3730" y="1541594"/>
            <a:ext cx="5343645" cy="4559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Текст 10"/>
          <p:cNvSpPr txBox="1"/>
          <p:nvPr/>
        </p:nvSpPr>
        <p:spPr>
          <a:xfrm>
            <a:off x="381312" y="857216"/>
            <a:ext cx="9143688" cy="557880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10185" indent="-210185" algn="l" defTabSz="840105" rtl="0" eaLnBrk="1" latinLnBrk="0" hangingPunct="1">
              <a:lnSpc>
                <a:spcPct val="90000"/>
              </a:lnSpc>
              <a:spcBef>
                <a:spcPts val="920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992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965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002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8976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949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86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600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335" indent="-210185" algn="l" defTabSz="840105" rtl="0" eaLnBrk="1" latinLnBrk="0" hangingPunct="1">
              <a:lnSpc>
                <a:spcPct val="90000"/>
              </a:lnSpc>
              <a:spcBef>
                <a:spcPts val="46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ru-RU" sz="1285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84317" y="5578009"/>
            <a:ext cx="9909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 smtClean="0"/>
              <a:t>Рис.1</a:t>
            </a:r>
            <a:endParaRPr lang="ru-RU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8213" y="2420568"/>
            <a:ext cx="4543947" cy="423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10893" y="207927"/>
            <a:ext cx="1625638" cy="2900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Описание </a:t>
            </a:r>
            <a:r>
              <a:rPr lang="ru-RU" sz="1285" b="1" dirty="0" smtClean="0"/>
              <a:t>продукта</a:t>
            </a:r>
            <a:endParaRPr lang="ru-RU" sz="1285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7163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ектирование системы когнитивного радио на основе гибридного подхода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175159" y="813611"/>
            <a:ext cx="1555682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dirty="0"/>
              <a:t>Описание продукта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00416" y="1165891"/>
            <a:ext cx="9324583" cy="5488627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85" b="1" dirty="0" smtClean="0">
                <a:solidFill>
                  <a:schemeClr val="accent1">
                    <a:lumMod val="50000"/>
                  </a:schemeClr>
                </a:solidFill>
              </a:rPr>
              <a:t>Планируется </a:t>
            </a:r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установка данной системы на передатчики сотовых операторов, что позволит кратно увеличить согласованность и скорость передачи Wi-Fi</a:t>
            </a:r>
            <a:r>
              <a:rPr lang="en-US" altLang="ru-RU" sz="1285" b="1" dirty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767062"/>
            <a:ext cx="5211242" cy="3512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26718" y="5423770"/>
            <a:ext cx="700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Рис.2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818213" y="6125320"/>
            <a:ext cx="7008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Рис.3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 descr="C:\Users\Иван\Desktop\КогРад\ИТОГОВАЯСХЕМАКОГРАД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028" y="247162"/>
            <a:ext cx="6392805" cy="4651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10893" y="207927"/>
            <a:ext cx="2564676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Описание продукта и технологи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61820" y="-17097"/>
            <a:ext cx="7163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ектирование системы когнитивного радио на основе гибридного подхода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869" y="833439"/>
            <a:ext cx="241935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93" y="4114447"/>
            <a:ext cx="288219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Скругленный прямоугольник 6"/>
          <p:cNvSpPr/>
          <p:nvPr/>
        </p:nvSpPr>
        <p:spPr>
          <a:xfrm>
            <a:off x="3788362" y="4170882"/>
            <a:ext cx="4225230" cy="2280022"/>
          </a:xfrm>
          <a:prstGeom prst="roundRect">
            <a:avLst>
              <a:gd name="adj" fmla="val 2129"/>
            </a:avLst>
          </a:prstGeom>
          <a:solidFill>
            <a:srgbClr val="3681B4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Система </a:t>
            </a:r>
            <a:r>
              <a:rPr lang="ru-RU" sz="2000" b="1" dirty="0">
                <a:solidFill>
                  <a:schemeClr val="bg1"/>
                </a:solidFill>
              </a:rPr>
              <a:t>когнитивного радио может быть </a:t>
            </a:r>
            <a:r>
              <a:rPr lang="ru-RU" sz="2000" b="1" dirty="0" smtClean="0">
                <a:solidFill>
                  <a:schemeClr val="bg1"/>
                </a:solidFill>
              </a:rPr>
              <a:t>создана </a:t>
            </a:r>
            <a:r>
              <a:rPr lang="ru-RU" sz="2000" b="1" dirty="0">
                <a:solidFill>
                  <a:schemeClr val="bg1"/>
                </a:solidFill>
              </a:rPr>
              <a:t>на основе использования программно-определяемого радио </a:t>
            </a:r>
            <a:r>
              <a:rPr lang="ru-RU" sz="2000" b="1" dirty="0">
                <a:solidFill>
                  <a:schemeClr val="bg1"/>
                </a:solidFill>
              </a:rPr>
              <a:t>(</a:t>
            </a:r>
            <a:r>
              <a:rPr lang="ru-RU" sz="2000" b="1" dirty="0" smtClean="0">
                <a:solidFill>
                  <a:schemeClr val="bg1"/>
                </a:solidFill>
              </a:rPr>
              <a:t>SDR). Её Предполагается реализовать на процессоре российской обработки «</a:t>
            </a:r>
            <a:r>
              <a:rPr lang="ru-RU" sz="2000" b="1" dirty="0" err="1" smtClean="0">
                <a:solidFill>
                  <a:schemeClr val="bg1"/>
                </a:solidFill>
              </a:rPr>
              <a:t>Мультикор</a:t>
            </a:r>
            <a:r>
              <a:rPr lang="ru-RU" sz="2000" b="1" dirty="0" smtClean="0">
                <a:solidFill>
                  <a:schemeClr val="bg1"/>
                </a:solidFill>
              </a:rPr>
              <a:t>» от </a:t>
            </a:r>
            <a:r>
              <a:rPr lang="en-US" sz="2000" b="1" dirty="0" err="1" smtClean="0">
                <a:solidFill>
                  <a:schemeClr val="bg1"/>
                </a:solidFill>
              </a:rPr>
              <a:t>Elvees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37" y="534791"/>
            <a:ext cx="3163132" cy="1454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84" y="2193561"/>
            <a:ext cx="3582014" cy="1343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84" y="3783329"/>
            <a:ext cx="3543418" cy="1312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3924512" y="3107227"/>
            <a:ext cx="785274" cy="65722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3699698" y="4533193"/>
            <a:ext cx="805627" cy="24384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7277801" y="4533193"/>
            <a:ext cx="872302" cy="24384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3352211" y="4777034"/>
            <a:ext cx="783638" cy="24384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7525641" y="4777033"/>
            <a:ext cx="872302" cy="24384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3352211" y="4890627"/>
            <a:ext cx="783638" cy="24384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3263547" y="5134468"/>
            <a:ext cx="833706" cy="24384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7744220" y="5018755"/>
            <a:ext cx="782560" cy="35955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3224951" y="5378309"/>
            <a:ext cx="806029" cy="30621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7837358" y="5377602"/>
            <a:ext cx="748896" cy="30691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3071428" y="5646606"/>
            <a:ext cx="872302" cy="89135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7961792" y="5646606"/>
            <a:ext cx="188311" cy="78246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3699698" y="6018217"/>
            <a:ext cx="872302" cy="51974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7308069" y="6017510"/>
            <a:ext cx="872302" cy="54564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4135848" y="6356334"/>
            <a:ext cx="3301271" cy="18162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257" y="6429066"/>
            <a:ext cx="1419724" cy="363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Прямоугольник 33"/>
          <p:cNvSpPr/>
          <p:nvPr/>
        </p:nvSpPr>
        <p:spPr>
          <a:xfrm>
            <a:off x="3712310" y="4133020"/>
            <a:ext cx="4378319" cy="7572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3988186" y="3598663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Рис.</a:t>
            </a:r>
            <a:endParaRPr lang="ru-RU" dirty="0"/>
          </a:p>
        </p:txBody>
      </p:sp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436" y="5439788"/>
            <a:ext cx="1686007" cy="1304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16606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26188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Рынок проект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7163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ектирование системы когнитивного радио на основе гибридного подход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15386" y="1301318"/>
            <a:ext cx="4397679" cy="18732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Целевые рынки</a:t>
            </a:r>
          </a:p>
          <a:p>
            <a:endParaRPr lang="ru-RU" sz="1285" b="1" dirty="0"/>
          </a:p>
          <a:p>
            <a:pPr marL="245110" indent="-245110">
              <a:buFontTx/>
              <a:buChar char="-"/>
            </a:pPr>
            <a:r>
              <a:rPr lang="ru-RU" sz="1285" dirty="0"/>
              <a:t>Описание рынков</a:t>
            </a:r>
          </a:p>
          <a:p>
            <a:pPr marL="245110" indent="-245110">
              <a:buFontTx/>
              <a:buChar char="-"/>
            </a:pPr>
            <a:endParaRPr lang="ru-RU" sz="1285" dirty="0"/>
          </a:p>
          <a:p>
            <a:pPr marL="245110" indent="-245110">
              <a:buFontTx/>
              <a:buChar char="-"/>
            </a:pPr>
            <a:r>
              <a:rPr lang="ru-RU" sz="1285" dirty="0"/>
              <a:t>Динамика рынков</a:t>
            </a:r>
          </a:p>
          <a:p>
            <a:pPr marL="245110" indent="-245110">
              <a:buFontTx/>
              <a:buChar char="-"/>
            </a:pPr>
            <a:endParaRPr lang="ru-RU" sz="1285" dirty="0"/>
          </a:p>
          <a:p>
            <a:pPr marL="245110" indent="-245110">
              <a:buFontTx/>
              <a:buChar char="-"/>
            </a:pPr>
            <a:r>
              <a:rPr lang="ru-RU" sz="1285" dirty="0"/>
              <a:t>Целевая доля рынков, которую планирует занять проект</a:t>
            </a:r>
          </a:p>
          <a:p>
            <a:pPr marL="245110" indent="-245110">
              <a:buFontTx/>
              <a:buChar char="-"/>
            </a:pPr>
            <a:endParaRPr lang="ru-RU" sz="1285" dirty="0"/>
          </a:p>
          <a:p>
            <a:pPr marL="245110" indent="-245110">
              <a:buFontTx/>
              <a:buChar char="-"/>
            </a:pPr>
            <a:r>
              <a:rPr lang="ru-RU" sz="1285" dirty="0"/>
              <a:t>Барьеры для выхода на целевые рынк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055995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/>
              <a:t>Конкуренты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48"/>
            <a:ext cx="7163821" cy="580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ектирование системы когнитивного радио на основе гибридного подхода</a:t>
            </a:r>
          </a:p>
          <a:p>
            <a:pPr algn="l"/>
            <a:endParaRPr lang="ru-RU" sz="1570" dirty="0"/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735389" y="1114458"/>
          <a:ext cx="4850676" cy="5297730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1072391"/>
                <a:gridCol w="851831"/>
                <a:gridCol w="1147801"/>
                <a:gridCol w="797327"/>
                <a:gridCol w="981326"/>
              </a:tblGrid>
              <a:tr h="953463"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мпании/ продукта проекта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72119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9" name="Rounded Rectangle 2099"/>
          <p:cNvSpPr/>
          <p:nvPr/>
        </p:nvSpPr>
        <p:spPr>
          <a:xfrm>
            <a:off x="6290291" y="1525932"/>
            <a:ext cx="2774353" cy="4731954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09" tIns="32654" rIns="65309" bIns="32654" anchor="ctr">
            <a:noAutofit/>
          </a:bodyPr>
          <a:lstStyle/>
          <a:p>
            <a:pPr algn="ctr">
              <a:spcAft>
                <a:spcPts val="855"/>
              </a:spcAft>
            </a:pPr>
            <a:r>
              <a:rPr lang="ru-RU" sz="1145" dirty="0">
                <a:solidFill>
                  <a:schemeClr val="tx2"/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Конкурентные преимущества продукта </a:t>
            </a:r>
          </a:p>
          <a:p>
            <a:pPr marL="129540" indent="-129540">
              <a:spcAft>
                <a:spcPts val="430"/>
              </a:spcAft>
              <a:buFont typeface="Arial" panose="020B0604020202020204" pitchFamily="34" charset="0"/>
              <a:buChar char="•"/>
            </a:pPr>
            <a:r>
              <a:rPr lang="ru-RU" sz="855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/>
                <a:ea typeface="Helvetica Neue" charset="0"/>
                <a:cs typeface="Helvetica Neue" charset="0"/>
              </a:rPr>
              <a:t>…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32520" y="207927"/>
            <a:ext cx="127464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5" b="1" dirty="0" smtClean="0"/>
              <a:t>Бизнес-модель</a:t>
            </a:r>
            <a:endParaRPr lang="ru-RU" sz="1285" b="1" dirty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361820" y="-17097"/>
            <a:ext cx="7163821" cy="580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ектирование системы когнитивного радио на основе гибридного подхода</a:t>
            </a:r>
          </a:p>
          <a:p>
            <a:endParaRPr lang="ru-RU" sz="1570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30017" y="1165891"/>
            <a:ext cx="8676736" cy="537834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 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Бизнес-модель Остервальдера</a:t>
            </a:r>
            <a:b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altLang="ru-RU" sz="1285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285" i="1" dirty="0">
                <a:solidFill>
                  <a:schemeClr val="accent1">
                    <a:lumMod val="50000"/>
                  </a:schemeClr>
                </a:solidFill>
              </a:rPr>
              <a:t>Ключевые партнеры   </a:t>
            </a:r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                                       </a:t>
            </a:r>
          </a:p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1.Поставщики оборудования </a:t>
            </a:r>
          </a:p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2.Операторы сотовой связи</a:t>
            </a:r>
            <a:b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</a:br>
            <a:endParaRPr lang="ru-RU" sz="1285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sz="1285" i="1" dirty="0">
                <a:solidFill>
                  <a:schemeClr val="accent1">
                    <a:lumMod val="50000"/>
                  </a:schemeClr>
                </a:solidFill>
              </a:rPr>
              <a:t>Ценностные предложения  </a:t>
            </a:r>
          </a:p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1.Уникальность продукта, не имеющий аналогов на Российском рынке. </a:t>
            </a:r>
          </a:p>
          <a:p>
            <a:r>
              <a:rPr lang="ru-RU" sz="1285" b="1" dirty="0">
                <a:solidFill>
                  <a:schemeClr val="accent1">
                    <a:lumMod val="50000"/>
                  </a:schemeClr>
                </a:solidFill>
              </a:rPr>
              <a:t>2.Отечественная продукция</a:t>
            </a:r>
          </a:p>
          <a:p>
            <a:endParaRPr lang="ru-RU" sz="1285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060778A680BE145B3E171F8BCE5FCC2" ma:contentTypeVersion="10" ma:contentTypeDescription="Создание документа." ma:contentTypeScope="" ma:versionID="48cf80f593d2d0fa224fb36be141b76a">
  <xsd:schema xmlns:xsd="http://www.w3.org/2001/XMLSchema" xmlns:xs="http://www.w3.org/2001/XMLSchema" xmlns:p="http://schemas.microsoft.com/office/2006/metadata/properties" xmlns:ns2="69cc3dea-af89-41ea-b8da-7ab11462d30a" xmlns:ns3="d8b453d6-be7a-4931-bedf-235701e60354" targetNamespace="http://schemas.microsoft.com/office/2006/metadata/properties" ma:root="true" ma:fieldsID="5a12abfc72ef197ef8bcff461a1448d9" ns2:_="" ns3:_="">
    <xsd:import namespace="69cc3dea-af89-41ea-b8da-7ab11462d30a"/>
    <xsd:import namespace="d8b453d6-be7a-4931-bedf-235701e6035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cc3dea-af89-41ea-b8da-7ab11462d30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b453d6-be7a-4931-bedf-235701e6035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D80CA30-6DA9-45CC-B03D-6C7DFE6270DC}">
  <ds:schemaRefs/>
</ds:datastoreItem>
</file>

<file path=customXml/itemProps2.xml><?xml version="1.0" encoding="utf-8"?>
<ds:datastoreItem xmlns:ds="http://schemas.openxmlformats.org/officeDocument/2006/customXml" ds:itemID="{AB0319F3-832D-4CD2-8CE3-1288F9B2FAB5}">
  <ds:schemaRefs/>
</ds:datastoreItem>
</file>

<file path=customXml/itemProps3.xml><?xml version="1.0" encoding="utf-8"?>
<ds:datastoreItem xmlns:ds="http://schemas.openxmlformats.org/officeDocument/2006/customXml" ds:itemID="{515F2574-6B2D-4151-B4E6-5F2B862C21E6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d8b453d6-be7a-4931-bedf-235701e60354"/>
    <ds:schemaRef ds:uri="69cc3dea-af89-41ea-b8da-7ab11462d30a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295</TotalTime>
  <Words>678</Words>
  <Application>Microsoft Office PowerPoint</Application>
  <PresentationFormat>Лист A4 (210x297 мм)</PresentationFormat>
  <Paragraphs>241</Paragraphs>
  <Slides>13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6" baseType="lpstr">
      <vt:lpstr>1_Тема Office</vt:lpstr>
      <vt:lpstr>2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уассонад Георгий Владимирович</dc:creator>
  <cp:lastModifiedBy>Иван</cp:lastModifiedBy>
  <cp:revision>395</cp:revision>
  <cp:lastPrinted>2017-09-07T15:28:00Z</cp:lastPrinted>
  <dcterms:created xsi:type="dcterms:W3CDTF">2016-03-23T11:46:00Z</dcterms:created>
  <dcterms:modified xsi:type="dcterms:W3CDTF">2023-11-17T19:5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60778A680BE145B3E171F8BCE5FCC2</vt:lpwstr>
  </property>
  <property fmtid="{D5CDD505-2E9C-101B-9397-08002B2CF9AE}" pid="3" name="ICV">
    <vt:lpwstr>8E9E564F9F9D4507B22EFEF1E8C465CB_12</vt:lpwstr>
  </property>
  <property fmtid="{D5CDD505-2E9C-101B-9397-08002B2CF9AE}" pid="4" name="KSOProductBuildVer">
    <vt:lpwstr>1033-12.2.0.13266</vt:lpwstr>
  </property>
</Properties>
</file>